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850" r:id="rId2"/>
    <p:sldId id="895" r:id="rId3"/>
    <p:sldId id="896" r:id="rId4"/>
    <p:sldId id="897" r:id="rId5"/>
  </p:sldIdLst>
  <p:sldSz cx="15360650" cy="8640763"/>
  <p:notesSz cx="6858000" cy="9144000"/>
  <p:custDataLst>
    <p:tags r:id="rId8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55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1pPr>
    <a:lvl2pPr marL="576072" algn="ctr" rtl="0" fontAlgn="base">
      <a:spcBef>
        <a:spcPct val="0"/>
      </a:spcBef>
      <a:spcAft>
        <a:spcPct val="0"/>
      </a:spcAft>
      <a:defRPr sz="55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2pPr>
    <a:lvl3pPr marL="1152144" algn="ctr" rtl="0" fontAlgn="base">
      <a:spcBef>
        <a:spcPct val="0"/>
      </a:spcBef>
      <a:spcAft>
        <a:spcPct val="0"/>
      </a:spcAft>
      <a:defRPr sz="55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3pPr>
    <a:lvl4pPr marL="1728216" algn="ctr" rtl="0" fontAlgn="base">
      <a:spcBef>
        <a:spcPct val="0"/>
      </a:spcBef>
      <a:spcAft>
        <a:spcPct val="0"/>
      </a:spcAft>
      <a:defRPr sz="55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4pPr>
    <a:lvl5pPr marL="2304288" algn="ctr" rtl="0" fontAlgn="base">
      <a:spcBef>
        <a:spcPct val="0"/>
      </a:spcBef>
      <a:spcAft>
        <a:spcPct val="0"/>
      </a:spcAft>
      <a:defRPr sz="55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5pPr>
    <a:lvl6pPr marL="2880360" algn="l" defTabSz="576072" rtl="0" eaLnBrk="1" latinLnBrk="0" hangingPunct="1">
      <a:defRPr sz="55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6pPr>
    <a:lvl7pPr marL="3456432" algn="l" defTabSz="576072" rtl="0" eaLnBrk="1" latinLnBrk="0" hangingPunct="1">
      <a:defRPr sz="55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7pPr>
    <a:lvl8pPr marL="4032504" algn="l" defTabSz="576072" rtl="0" eaLnBrk="1" latinLnBrk="0" hangingPunct="1">
      <a:defRPr sz="55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8pPr>
    <a:lvl9pPr marL="4608576" algn="l" defTabSz="576072" rtl="0" eaLnBrk="1" latinLnBrk="0" hangingPunct="1">
      <a:defRPr sz="5500" kern="1200">
        <a:solidFill>
          <a:schemeClr val="tx2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808" userDrawn="1">
          <p15:clr>
            <a:srgbClr val="A4A3A4"/>
          </p15:clr>
        </p15:guide>
        <p15:guide id="2" pos="483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a Kühne" initials="JK" lastIdx="8" clrIdx="0">
    <p:extLst>
      <p:ext uri="{19B8F6BF-5375-455C-9EA6-DF929625EA0E}">
        <p15:presenceInfo xmlns:p15="http://schemas.microsoft.com/office/powerpoint/2012/main" userId="a23021b4de9f7cc1" providerId="Windows Live"/>
      </p:ext>
    </p:extLst>
  </p:cmAuthor>
  <p:cmAuthor id="2" name="Microsoft Office User" initials="MOU" lastIdx="4" clrIdx="1">
    <p:extLst>
      <p:ext uri="{19B8F6BF-5375-455C-9EA6-DF929625EA0E}">
        <p15:presenceInfo xmlns:p15="http://schemas.microsoft.com/office/powerpoint/2012/main" userId="Microsoft Office User" providerId="None"/>
      </p:ext>
    </p:extLst>
  </p:cmAuthor>
  <p:cmAuthor id="3" name="Strobel" initials="S" lastIdx="1" clrIdx="2">
    <p:extLst>
      <p:ext uri="{19B8F6BF-5375-455C-9EA6-DF929625EA0E}">
        <p15:presenceInfo xmlns:p15="http://schemas.microsoft.com/office/powerpoint/2012/main" userId="Strobe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9400"/>
    <a:srgbClr val="FFF4CE"/>
    <a:srgbClr val="FFCC99"/>
    <a:srgbClr val="F49400"/>
    <a:srgbClr val="C47900"/>
    <a:srgbClr val="E30061"/>
    <a:srgbClr val="96BE0D"/>
    <a:srgbClr val="0081C6"/>
    <a:srgbClr val="9A9FA3"/>
    <a:srgbClr val="C4CC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5281D97-2187-48AB-8EC0-F9B860C82AEF}" v="209" dt="2019-02-05T17:38:51.896"/>
    <p1510:client id="{48F21275-87A7-451B-9941-38A701B61EFE}" v="12" dt="2019-02-05T17:40:28.672"/>
    <p1510:client id="{BCE7A18C-1406-498B-A620-A0BC2AD73B8B}" v="10" dt="2019-02-05T17:48:18.066"/>
    <p1510:client id="{66E1B3E5-B2C1-4B5B-83D1-6FBF4ED6258D}" v="81" dt="2019-02-05T17:52:15.5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643" autoAdjust="0"/>
    <p:restoredTop sz="71119" autoAdjust="0"/>
  </p:normalViewPr>
  <p:slideViewPr>
    <p:cSldViewPr>
      <p:cViewPr varScale="1">
        <p:scale>
          <a:sx n="71" d="100"/>
          <a:sy n="71" d="100"/>
        </p:scale>
        <p:origin x="804" y="72"/>
      </p:cViewPr>
      <p:guideLst>
        <p:guide orient="horz" pos="4808"/>
        <p:guide pos="483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151" d="100"/>
          <a:sy n="151" d="100"/>
        </p:scale>
        <p:origin x="-5712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97" Type="http://schemas.microsoft.com/office/2016/11/relationships/changesInfo" Target="changesInfos/changesInfo1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9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ett mehler-bicher" userId="f7a4c83f7291193b" providerId="LiveId" clId="{BCE7A18C-1406-498B-A620-A0BC2AD73B8B}"/>
    <pc:docChg chg="custSel addSld delSld modSld">
      <pc:chgData name="anett mehler-bicher" userId="f7a4c83f7291193b" providerId="LiveId" clId="{BCE7A18C-1406-498B-A620-A0BC2AD73B8B}" dt="2019-02-05T17:48:18.066" v="5"/>
      <pc:docMkLst>
        <pc:docMk/>
      </pc:docMkLst>
      <pc:sldChg chg="add">
        <pc:chgData name="anett mehler-bicher" userId="f7a4c83f7291193b" providerId="LiveId" clId="{BCE7A18C-1406-498B-A620-A0BC2AD73B8B}" dt="2019-02-05T17:48:18.066" v="5"/>
        <pc:sldMkLst>
          <pc:docMk/>
          <pc:sldMk cId="1434378195" sldId="281"/>
        </pc:sldMkLst>
      </pc:sldChg>
      <pc:sldChg chg="add del">
        <pc:chgData name="anett mehler-bicher" userId="f7a4c83f7291193b" providerId="LiveId" clId="{BCE7A18C-1406-498B-A620-A0BC2AD73B8B}" dt="2019-02-05T17:47:51.505" v="3" actId="2696"/>
        <pc:sldMkLst>
          <pc:docMk/>
          <pc:sldMk cId="1802575271" sldId="281"/>
        </pc:sldMkLst>
      </pc:sldChg>
      <pc:sldChg chg="add del">
        <pc:chgData name="anett mehler-bicher" userId="f7a4c83f7291193b" providerId="LiveId" clId="{BCE7A18C-1406-498B-A620-A0BC2AD73B8B}" dt="2019-02-05T17:47:51.505" v="1" actId="2696"/>
        <pc:sldMkLst>
          <pc:docMk/>
          <pc:sldMk cId="1832264994" sldId="286"/>
        </pc:sldMkLst>
      </pc:sldChg>
      <pc:sldChg chg="add">
        <pc:chgData name="anett mehler-bicher" userId="f7a4c83f7291193b" providerId="LiveId" clId="{BCE7A18C-1406-498B-A620-A0BC2AD73B8B}" dt="2019-02-05T17:48:18.066" v="5"/>
        <pc:sldMkLst>
          <pc:docMk/>
          <pc:sldMk cId="2669086318" sldId="286"/>
        </pc:sldMkLst>
      </pc:sldChg>
      <pc:sldMasterChg chg="delSldLayout">
        <pc:chgData name="anett mehler-bicher" userId="f7a4c83f7291193b" providerId="LiveId" clId="{BCE7A18C-1406-498B-A620-A0BC2AD73B8B}" dt="2019-02-05T17:47:51.505" v="4" actId="2696"/>
        <pc:sldMasterMkLst>
          <pc:docMk/>
          <pc:sldMasterMk cId="0" sldId="2147483648"/>
        </pc:sldMasterMkLst>
        <pc:sldLayoutChg chg="del">
          <pc:chgData name="anett mehler-bicher" userId="f7a4c83f7291193b" providerId="LiveId" clId="{BCE7A18C-1406-498B-A620-A0BC2AD73B8B}" dt="2019-02-05T17:47:51.505" v="2" actId="2696"/>
          <pc:sldLayoutMkLst>
            <pc:docMk/>
            <pc:sldMasterMk cId="0" sldId="2147483648"/>
            <pc:sldLayoutMk cId="2634593124" sldId="2147483668"/>
          </pc:sldLayoutMkLst>
        </pc:sldLayoutChg>
        <pc:sldLayoutChg chg="del">
          <pc:chgData name="anett mehler-bicher" userId="f7a4c83f7291193b" providerId="LiveId" clId="{BCE7A18C-1406-498B-A620-A0BC2AD73B8B}" dt="2019-02-05T17:47:51.505" v="4" actId="2696"/>
          <pc:sldLayoutMkLst>
            <pc:docMk/>
            <pc:sldMasterMk cId="0" sldId="2147483648"/>
            <pc:sldLayoutMk cId="1192570535" sldId="2147483669"/>
          </pc:sldLayoutMkLst>
        </pc:sldLayoutChg>
      </pc:sldMasterChg>
    </pc:docChg>
  </pc:docChgLst>
  <pc:docChgLst>
    <pc:chgData name="anett mehler-bicher" userId="f7a4c83f7291193b" providerId="LiveId" clId="{390F7C49-35BB-4113-AA48-3851A3876BC5}"/>
    <pc:docChg chg="undo custSel addSld delSld modSld modMainMaster">
      <pc:chgData name="anett mehler-bicher" userId="f7a4c83f7291193b" providerId="LiveId" clId="{390F7C49-35BB-4113-AA48-3851A3876BC5}" dt="2019-02-05T17:38:51.896" v="205"/>
      <pc:docMkLst>
        <pc:docMk/>
      </pc:docMkLst>
      <pc:sldChg chg="del">
        <pc:chgData name="anett mehler-bicher" userId="f7a4c83f7291193b" providerId="LiveId" clId="{390F7C49-35BB-4113-AA48-3851A3876BC5}" dt="2019-02-05T17:32:49.317" v="79" actId="2696"/>
        <pc:sldMkLst>
          <pc:docMk/>
          <pc:sldMk cId="0" sldId="256"/>
        </pc:sldMkLst>
      </pc:sldChg>
      <pc:sldChg chg="del">
        <pc:chgData name="anett mehler-bicher" userId="f7a4c83f7291193b" providerId="LiveId" clId="{390F7C49-35BB-4113-AA48-3851A3876BC5}" dt="2019-02-05T17:32:09.708" v="46" actId="2696"/>
        <pc:sldMkLst>
          <pc:docMk/>
          <pc:sldMk cId="0" sldId="259"/>
        </pc:sldMkLst>
      </pc:sldChg>
      <pc:sldChg chg="del">
        <pc:chgData name="anett mehler-bicher" userId="f7a4c83f7291193b" providerId="LiveId" clId="{390F7C49-35BB-4113-AA48-3851A3876BC5}" dt="2019-02-05T17:32:49.317" v="78" actId="2696"/>
        <pc:sldMkLst>
          <pc:docMk/>
          <pc:sldMk cId="1563331521" sldId="275"/>
        </pc:sldMkLst>
      </pc:sldChg>
      <pc:sldChg chg="del">
        <pc:chgData name="anett mehler-bicher" userId="f7a4c83f7291193b" providerId="LiveId" clId="{390F7C49-35BB-4113-AA48-3851A3876BC5}" dt="2019-02-05T17:32:05.350" v="45" actId="2696"/>
        <pc:sldMkLst>
          <pc:docMk/>
          <pc:sldMk cId="2737981689" sldId="278"/>
        </pc:sldMkLst>
      </pc:sldChg>
      <pc:sldChg chg="del">
        <pc:chgData name="anett mehler-bicher" userId="f7a4c83f7291193b" providerId="LiveId" clId="{390F7C49-35BB-4113-AA48-3851A3876BC5}" dt="2019-02-05T17:32:51.620" v="83" actId="2696"/>
        <pc:sldMkLst>
          <pc:docMk/>
          <pc:sldMk cId="1802575271" sldId="281"/>
        </pc:sldMkLst>
      </pc:sldChg>
      <pc:sldChg chg="del">
        <pc:chgData name="anett mehler-bicher" userId="f7a4c83f7291193b" providerId="LiveId" clId="{390F7C49-35BB-4113-AA48-3851A3876BC5}" dt="2019-02-05T17:32:50.538" v="82" actId="2696"/>
        <pc:sldMkLst>
          <pc:docMk/>
          <pc:sldMk cId="1832264994" sldId="286"/>
        </pc:sldMkLst>
      </pc:sldChg>
      <pc:sldChg chg="del">
        <pc:chgData name="anett mehler-bicher" userId="f7a4c83f7291193b" providerId="LiveId" clId="{390F7C49-35BB-4113-AA48-3851A3876BC5}" dt="2019-02-05T17:32:49.301" v="77" actId="2696"/>
        <pc:sldMkLst>
          <pc:docMk/>
          <pc:sldMk cId="2048053756" sldId="288"/>
        </pc:sldMkLst>
      </pc:sldChg>
      <pc:sldChg chg="del">
        <pc:chgData name="anett mehler-bicher" userId="f7a4c83f7291193b" providerId="LiveId" clId="{390F7C49-35BB-4113-AA48-3851A3876BC5}" dt="2019-02-05T17:32:10.334" v="47" actId="2696"/>
        <pc:sldMkLst>
          <pc:docMk/>
          <pc:sldMk cId="239172918" sldId="289"/>
        </pc:sldMkLst>
      </pc:sldChg>
      <pc:sldChg chg="del">
        <pc:chgData name="anett mehler-bicher" userId="f7a4c83f7291193b" providerId="LiveId" clId="{390F7C49-35BB-4113-AA48-3851A3876BC5}" dt="2019-02-05T17:32:10.977" v="48" actId="2696"/>
        <pc:sldMkLst>
          <pc:docMk/>
          <pc:sldMk cId="936065133" sldId="290"/>
        </pc:sldMkLst>
      </pc:sldChg>
      <pc:sldChg chg="del">
        <pc:chgData name="anett mehler-bicher" userId="f7a4c83f7291193b" providerId="LiveId" clId="{390F7C49-35BB-4113-AA48-3851A3876BC5}" dt="2019-02-05T17:32:49.317" v="80" actId="2696"/>
        <pc:sldMkLst>
          <pc:docMk/>
          <pc:sldMk cId="137916596" sldId="291"/>
        </pc:sldMkLst>
      </pc:sldChg>
      <pc:sldChg chg="del">
        <pc:chgData name="anett mehler-bicher" userId="f7a4c83f7291193b" providerId="LiveId" clId="{390F7C49-35BB-4113-AA48-3851A3876BC5}" dt="2019-02-05T17:32:49.332" v="81" actId="2696"/>
        <pc:sldMkLst>
          <pc:docMk/>
          <pc:sldMk cId="1677968505" sldId="292"/>
        </pc:sldMkLst>
      </pc:sldChg>
      <pc:sldChg chg="del">
        <pc:chgData name="anett mehler-bicher" userId="f7a4c83f7291193b" providerId="LiveId" clId="{390F7C49-35BB-4113-AA48-3851A3876BC5}" dt="2019-02-05T17:32:49.238" v="55" actId="2696"/>
        <pc:sldMkLst>
          <pc:docMk/>
          <pc:sldMk cId="551796065" sldId="293"/>
        </pc:sldMkLst>
      </pc:sldChg>
      <pc:sldChg chg="del">
        <pc:chgData name="anett mehler-bicher" userId="f7a4c83f7291193b" providerId="LiveId" clId="{390F7C49-35BB-4113-AA48-3851A3876BC5}" dt="2019-02-05T17:32:13.207" v="51" actId="2696"/>
        <pc:sldMkLst>
          <pc:docMk/>
          <pc:sldMk cId="345736172" sldId="294"/>
        </pc:sldMkLst>
      </pc:sldChg>
      <pc:sldChg chg="del">
        <pc:chgData name="anett mehler-bicher" userId="f7a4c83f7291193b" providerId="LiveId" clId="{390F7C49-35BB-4113-AA48-3851A3876BC5}" dt="2019-02-05T17:32:13.863" v="52" actId="2696"/>
        <pc:sldMkLst>
          <pc:docMk/>
          <pc:sldMk cId="543441954" sldId="295"/>
        </pc:sldMkLst>
      </pc:sldChg>
      <pc:sldChg chg="del">
        <pc:chgData name="anett mehler-bicher" userId="f7a4c83f7291193b" providerId="LiveId" clId="{390F7C49-35BB-4113-AA48-3851A3876BC5}" dt="2019-02-05T17:32:14.505" v="53" actId="2696"/>
        <pc:sldMkLst>
          <pc:docMk/>
          <pc:sldMk cId="317819620" sldId="296"/>
        </pc:sldMkLst>
      </pc:sldChg>
      <pc:sldChg chg="del">
        <pc:chgData name="anett mehler-bicher" userId="f7a4c83f7291193b" providerId="LiveId" clId="{390F7C49-35BB-4113-AA48-3851A3876BC5}" dt="2019-02-05T17:32:15.369" v="54" actId="2696"/>
        <pc:sldMkLst>
          <pc:docMk/>
          <pc:sldMk cId="911193600" sldId="297"/>
        </pc:sldMkLst>
      </pc:sldChg>
      <pc:sldChg chg="del">
        <pc:chgData name="anett mehler-bicher" userId="f7a4c83f7291193b" providerId="LiveId" clId="{390F7C49-35BB-4113-AA48-3851A3876BC5}" dt="2019-02-05T17:32:49.238" v="56" actId="2696"/>
        <pc:sldMkLst>
          <pc:docMk/>
          <pc:sldMk cId="1442486536" sldId="298"/>
        </pc:sldMkLst>
      </pc:sldChg>
      <pc:sldChg chg="del">
        <pc:chgData name="anett mehler-bicher" userId="f7a4c83f7291193b" providerId="LiveId" clId="{390F7C49-35BB-4113-AA48-3851A3876BC5}" dt="2019-02-05T17:32:49.238" v="58" actId="2696"/>
        <pc:sldMkLst>
          <pc:docMk/>
          <pc:sldMk cId="1901672786" sldId="299"/>
        </pc:sldMkLst>
      </pc:sldChg>
      <pc:sldChg chg="del">
        <pc:chgData name="anett mehler-bicher" userId="f7a4c83f7291193b" providerId="LiveId" clId="{390F7C49-35BB-4113-AA48-3851A3876BC5}" dt="2019-02-05T17:32:49.254" v="60" actId="2696"/>
        <pc:sldMkLst>
          <pc:docMk/>
          <pc:sldMk cId="666736383" sldId="300"/>
        </pc:sldMkLst>
      </pc:sldChg>
      <pc:sldChg chg="del">
        <pc:chgData name="anett mehler-bicher" userId="f7a4c83f7291193b" providerId="LiveId" clId="{390F7C49-35BB-4113-AA48-3851A3876BC5}" dt="2019-02-05T17:32:49.254" v="61" actId="2696"/>
        <pc:sldMkLst>
          <pc:docMk/>
          <pc:sldMk cId="1550266409" sldId="301"/>
        </pc:sldMkLst>
      </pc:sldChg>
      <pc:sldChg chg="del">
        <pc:chgData name="anett mehler-bicher" userId="f7a4c83f7291193b" providerId="LiveId" clId="{390F7C49-35BB-4113-AA48-3851A3876BC5}" dt="2019-02-05T17:32:49.254" v="62" actId="2696"/>
        <pc:sldMkLst>
          <pc:docMk/>
          <pc:sldMk cId="1243314725" sldId="302"/>
        </pc:sldMkLst>
      </pc:sldChg>
      <pc:sldChg chg="del">
        <pc:chgData name="anett mehler-bicher" userId="f7a4c83f7291193b" providerId="LiveId" clId="{390F7C49-35BB-4113-AA48-3851A3876BC5}" dt="2019-02-05T17:32:49.254" v="63" actId="2696"/>
        <pc:sldMkLst>
          <pc:docMk/>
          <pc:sldMk cId="1280933363" sldId="303"/>
        </pc:sldMkLst>
      </pc:sldChg>
      <pc:sldChg chg="del">
        <pc:chgData name="anett mehler-bicher" userId="f7a4c83f7291193b" providerId="LiveId" clId="{390F7C49-35BB-4113-AA48-3851A3876BC5}" dt="2019-02-05T17:32:49.254" v="64" actId="2696"/>
        <pc:sldMkLst>
          <pc:docMk/>
          <pc:sldMk cId="9152062" sldId="304"/>
        </pc:sldMkLst>
      </pc:sldChg>
      <pc:sldChg chg="del">
        <pc:chgData name="anett mehler-bicher" userId="f7a4c83f7291193b" providerId="LiveId" clId="{390F7C49-35BB-4113-AA48-3851A3876BC5}" dt="2019-02-05T17:32:49.270" v="66" actId="2696"/>
        <pc:sldMkLst>
          <pc:docMk/>
          <pc:sldMk cId="170472025" sldId="306"/>
        </pc:sldMkLst>
      </pc:sldChg>
      <pc:sldChg chg="del">
        <pc:chgData name="anett mehler-bicher" userId="f7a4c83f7291193b" providerId="LiveId" clId="{390F7C49-35BB-4113-AA48-3851A3876BC5}" dt="2019-02-05T17:32:49.270" v="67" actId="2696"/>
        <pc:sldMkLst>
          <pc:docMk/>
          <pc:sldMk cId="1578990582" sldId="307"/>
        </pc:sldMkLst>
      </pc:sldChg>
      <pc:sldChg chg="del">
        <pc:chgData name="anett mehler-bicher" userId="f7a4c83f7291193b" providerId="LiveId" clId="{390F7C49-35BB-4113-AA48-3851A3876BC5}" dt="2019-02-05T17:32:49.270" v="68" actId="2696"/>
        <pc:sldMkLst>
          <pc:docMk/>
          <pc:sldMk cId="1257903210" sldId="308"/>
        </pc:sldMkLst>
      </pc:sldChg>
      <pc:sldChg chg="del">
        <pc:chgData name="anett mehler-bicher" userId="f7a4c83f7291193b" providerId="LiveId" clId="{390F7C49-35BB-4113-AA48-3851A3876BC5}" dt="2019-02-05T17:32:49.270" v="69" actId="2696"/>
        <pc:sldMkLst>
          <pc:docMk/>
          <pc:sldMk cId="1231963697" sldId="309"/>
        </pc:sldMkLst>
      </pc:sldChg>
      <pc:sldChg chg="del">
        <pc:chgData name="anett mehler-bicher" userId="f7a4c83f7291193b" providerId="LiveId" clId="{390F7C49-35BB-4113-AA48-3851A3876BC5}" dt="2019-02-05T17:32:49.285" v="70" actId="2696"/>
        <pc:sldMkLst>
          <pc:docMk/>
          <pc:sldMk cId="233595032" sldId="310"/>
        </pc:sldMkLst>
      </pc:sldChg>
      <pc:sldChg chg="del">
        <pc:chgData name="anett mehler-bicher" userId="f7a4c83f7291193b" providerId="LiveId" clId="{390F7C49-35BB-4113-AA48-3851A3876BC5}" dt="2019-02-05T17:32:49.285" v="71" actId="2696"/>
        <pc:sldMkLst>
          <pc:docMk/>
          <pc:sldMk cId="1010743707" sldId="311"/>
        </pc:sldMkLst>
      </pc:sldChg>
      <pc:sldChg chg="del">
        <pc:chgData name="anett mehler-bicher" userId="f7a4c83f7291193b" providerId="LiveId" clId="{390F7C49-35BB-4113-AA48-3851A3876BC5}" dt="2019-02-05T17:32:49.285" v="72" actId="2696"/>
        <pc:sldMkLst>
          <pc:docMk/>
          <pc:sldMk cId="23830944" sldId="312"/>
        </pc:sldMkLst>
      </pc:sldChg>
      <pc:sldChg chg="del">
        <pc:chgData name="anett mehler-bicher" userId="f7a4c83f7291193b" providerId="LiveId" clId="{390F7C49-35BB-4113-AA48-3851A3876BC5}" dt="2019-02-05T17:32:49.301" v="74" actId="2696"/>
        <pc:sldMkLst>
          <pc:docMk/>
          <pc:sldMk cId="1016364700" sldId="313"/>
        </pc:sldMkLst>
      </pc:sldChg>
      <pc:sldChg chg="del">
        <pc:chgData name="anett mehler-bicher" userId="f7a4c83f7291193b" providerId="LiveId" clId="{390F7C49-35BB-4113-AA48-3851A3876BC5}" dt="2019-02-05T17:32:49.301" v="76" actId="2696"/>
        <pc:sldMkLst>
          <pc:docMk/>
          <pc:sldMk cId="931278000" sldId="314"/>
        </pc:sldMkLst>
      </pc:sldChg>
      <pc:sldChg chg="del">
        <pc:chgData name="anett mehler-bicher" userId="f7a4c83f7291193b" providerId="LiveId" clId="{390F7C49-35BB-4113-AA48-3851A3876BC5}" dt="2019-02-05T17:32:49.301" v="73" actId="2696"/>
        <pc:sldMkLst>
          <pc:docMk/>
          <pc:sldMk cId="1377289448" sldId="315"/>
        </pc:sldMkLst>
      </pc:sldChg>
      <pc:sldChg chg="del">
        <pc:chgData name="anett mehler-bicher" userId="f7a4c83f7291193b" providerId="LiveId" clId="{390F7C49-35BB-4113-AA48-3851A3876BC5}" dt="2019-02-05T17:32:49.301" v="75" actId="2696"/>
        <pc:sldMkLst>
          <pc:docMk/>
          <pc:sldMk cId="1453518328" sldId="316"/>
        </pc:sldMkLst>
      </pc:sldChg>
      <pc:sldChg chg="del">
        <pc:chgData name="anett mehler-bicher" userId="f7a4c83f7291193b" providerId="LiveId" clId="{390F7C49-35BB-4113-AA48-3851A3876BC5}" dt="2019-02-05T17:32:11.824" v="49" actId="2696"/>
        <pc:sldMkLst>
          <pc:docMk/>
          <pc:sldMk cId="3615872781" sldId="317"/>
        </pc:sldMkLst>
      </pc:sldChg>
      <pc:sldChg chg="del">
        <pc:chgData name="anett mehler-bicher" userId="f7a4c83f7291193b" providerId="LiveId" clId="{390F7C49-35BB-4113-AA48-3851A3876BC5}" dt="2019-02-05T17:32:12.514" v="50" actId="2696"/>
        <pc:sldMkLst>
          <pc:docMk/>
          <pc:sldMk cId="2895831053" sldId="318"/>
        </pc:sldMkLst>
      </pc:sldChg>
      <pc:sldChg chg="del">
        <pc:chgData name="anett mehler-bicher" userId="f7a4c83f7291193b" providerId="LiveId" clId="{390F7C49-35BB-4113-AA48-3851A3876BC5}" dt="2019-02-05T17:32:49.270" v="65" actId="2696"/>
        <pc:sldMkLst>
          <pc:docMk/>
          <pc:sldMk cId="2530129126" sldId="328"/>
        </pc:sldMkLst>
      </pc:sldChg>
      <pc:sldChg chg="del">
        <pc:chgData name="anett mehler-bicher" userId="f7a4c83f7291193b" providerId="LiveId" clId="{390F7C49-35BB-4113-AA48-3851A3876BC5}" dt="2019-02-05T17:32:49.238" v="57" actId="2696"/>
        <pc:sldMkLst>
          <pc:docMk/>
          <pc:sldMk cId="1156862387" sldId="330"/>
        </pc:sldMkLst>
      </pc:sldChg>
      <pc:sldChg chg="del">
        <pc:chgData name="anett mehler-bicher" userId="f7a4c83f7291193b" providerId="LiveId" clId="{390F7C49-35BB-4113-AA48-3851A3876BC5}" dt="2019-02-05T17:32:49.254" v="59" actId="2696"/>
        <pc:sldMkLst>
          <pc:docMk/>
          <pc:sldMk cId="18237887" sldId="331"/>
        </pc:sldMkLst>
      </pc:sldChg>
      <pc:sldChg chg="modSp add">
        <pc:chgData name="anett mehler-bicher" userId="f7a4c83f7291193b" providerId="LiveId" clId="{390F7C49-35BB-4113-AA48-3851A3876BC5}" dt="2019-02-05T17:37:38.752" v="186" actId="20577"/>
        <pc:sldMkLst>
          <pc:docMk/>
          <pc:sldMk cId="3989664488" sldId="563"/>
        </pc:sldMkLst>
        <pc:spChg chg="mod">
          <ac:chgData name="anett mehler-bicher" userId="f7a4c83f7291193b" providerId="LiveId" clId="{390F7C49-35BB-4113-AA48-3851A3876BC5}" dt="2019-02-05T17:37:38.752" v="186" actId="20577"/>
          <ac:spMkLst>
            <pc:docMk/>
            <pc:sldMk cId="3989664488" sldId="563"/>
            <ac:spMk id="3" creationId="{00000000-0000-0000-0000-000000000000}"/>
          </ac:spMkLst>
        </pc:spChg>
        <pc:spChg chg="mod">
          <ac:chgData name="anett mehler-bicher" userId="f7a4c83f7291193b" providerId="LiveId" clId="{390F7C49-35BB-4113-AA48-3851A3876BC5}" dt="2019-02-05T17:37:17.159" v="157" actId="20577"/>
          <ac:spMkLst>
            <pc:docMk/>
            <pc:sldMk cId="3989664488" sldId="563"/>
            <ac:spMk id="4" creationId="{00000000-0000-0000-0000-000000000000}"/>
          </ac:spMkLst>
        </pc:spChg>
        <pc:spChg chg="mod">
          <ac:chgData name="anett mehler-bicher" userId="f7a4c83f7291193b" providerId="LiveId" clId="{390F7C49-35BB-4113-AA48-3851A3876BC5}" dt="2019-02-05T17:37:10.778" v="140" actId="20577"/>
          <ac:spMkLst>
            <pc:docMk/>
            <pc:sldMk cId="3989664488" sldId="563"/>
            <ac:spMk id="5" creationId="{00000000-0000-0000-0000-000000000000}"/>
          </ac:spMkLst>
        </pc:spChg>
      </pc:sldChg>
      <pc:sldChg chg="addSp delSp modSp add">
        <pc:chgData name="anett mehler-bicher" userId="f7a4c83f7291193b" providerId="LiveId" clId="{390F7C49-35BB-4113-AA48-3851A3876BC5}" dt="2019-02-05T17:38:51.896" v="205"/>
        <pc:sldMkLst>
          <pc:docMk/>
          <pc:sldMk cId="2478160398" sldId="588"/>
        </pc:sldMkLst>
        <pc:spChg chg="mod">
          <ac:chgData name="anett mehler-bicher" userId="f7a4c83f7291193b" providerId="LiveId" clId="{390F7C49-35BB-4113-AA48-3851A3876BC5}" dt="2019-02-05T17:38:51.896" v="205"/>
          <ac:spMkLst>
            <pc:docMk/>
            <pc:sldMk cId="2478160398" sldId="588"/>
            <ac:spMk id="9" creationId="{00000000-0000-0000-0000-000000000000}"/>
          </ac:spMkLst>
        </pc:spChg>
        <pc:picChg chg="del">
          <ac:chgData name="anett mehler-bicher" userId="f7a4c83f7291193b" providerId="LiveId" clId="{390F7C49-35BB-4113-AA48-3851A3876BC5}" dt="2019-02-05T17:36:56.053" v="122" actId="478"/>
          <ac:picMkLst>
            <pc:docMk/>
            <pc:sldMk cId="2478160398" sldId="588"/>
            <ac:picMk id="2" creationId="{00000000-0000-0000-0000-000000000000}"/>
          </ac:picMkLst>
        </pc:picChg>
        <pc:picChg chg="add mod">
          <ac:chgData name="anett mehler-bicher" userId="f7a4c83f7291193b" providerId="LiveId" clId="{390F7C49-35BB-4113-AA48-3851A3876BC5}" dt="2019-02-05T17:38:51.896" v="205"/>
          <ac:picMkLst>
            <pc:docMk/>
            <pc:sldMk cId="2478160398" sldId="588"/>
            <ac:picMk id="4" creationId="{7A416062-70B3-4BC4-9F39-8AB48AEC7CA0}"/>
          </ac:picMkLst>
        </pc:picChg>
        <pc:picChg chg="del">
          <ac:chgData name="anett mehler-bicher" userId="f7a4c83f7291193b" providerId="LiveId" clId="{390F7C49-35BB-4113-AA48-3851A3876BC5}" dt="2019-02-05T17:30:58.695" v="1" actId="478"/>
          <ac:picMkLst>
            <pc:docMk/>
            <pc:sldMk cId="2478160398" sldId="588"/>
            <ac:picMk id="6" creationId="{00000000-0000-0000-0000-000000000000}"/>
          </ac:picMkLst>
        </pc:picChg>
      </pc:sldChg>
      <pc:sldMasterChg chg="addSp delSp delSldLayout modSldLayout">
        <pc:chgData name="anett mehler-bicher" userId="f7a4c83f7291193b" providerId="LiveId" clId="{390F7C49-35BB-4113-AA48-3851A3876BC5}" dt="2019-02-05T17:38:51.896" v="205"/>
        <pc:sldMasterMkLst>
          <pc:docMk/>
          <pc:sldMasterMk cId="0" sldId="2147483648"/>
        </pc:sldMasterMkLst>
        <pc:spChg chg="del">
          <ac:chgData name="anett mehler-bicher" userId="f7a4c83f7291193b" providerId="LiveId" clId="{390F7C49-35BB-4113-AA48-3851A3876BC5}" dt="2019-02-05T17:34:10.742" v="86" actId="478"/>
          <ac:spMkLst>
            <pc:docMk/>
            <pc:sldMasterMk cId="0" sldId="2147483648"/>
            <ac:spMk id="5" creationId="{00000000-0000-0000-0000-000000000000}"/>
          </ac:spMkLst>
        </pc:spChg>
        <pc:spChg chg="del">
          <ac:chgData name="anett mehler-bicher" userId="f7a4c83f7291193b" providerId="LiveId" clId="{390F7C49-35BB-4113-AA48-3851A3876BC5}" dt="2019-02-05T17:36:12.103" v="117" actId="478"/>
          <ac:spMkLst>
            <pc:docMk/>
            <pc:sldMasterMk cId="0" sldId="2147483648"/>
            <ac:spMk id="1026" creationId="{00000000-0000-0000-0000-000000000000}"/>
          </ac:spMkLst>
        </pc:spChg>
        <pc:picChg chg="add del">
          <ac:chgData name="anett mehler-bicher" userId="f7a4c83f7291193b" providerId="LiveId" clId="{390F7C49-35BB-4113-AA48-3851A3876BC5}" dt="2019-02-05T17:36:20.806" v="119"/>
          <ac:picMkLst>
            <pc:docMk/>
            <pc:sldMasterMk cId="0" sldId="2147483648"/>
            <ac:picMk id="4" creationId="{20EB4AA9-8D4A-45DE-9F30-70EB777E72FC}"/>
          </ac:picMkLst>
        </pc:picChg>
        <pc:picChg chg="add del">
          <ac:chgData name="anett mehler-bicher" userId="f7a4c83f7291193b" providerId="LiveId" clId="{390F7C49-35BB-4113-AA48-3851A3876BC5}" dt="2019-02-05T17:36:20.806" v="119"/>
          <ac:picMkLst>
            <pc:docMk/>
            <pc:sldMasterMk cId="0" sldId="2147483648"/>
            <ac:picMk id="6" creationId="{441D47F0-DF1A-4A8E-8813-C02B9391408C}"/>
          </ac:picMkLst>
        </pc:picChg>
        <pc:sldLayoutChg chg="del">
          <pc:chgData name="anett mehler-bicher" userId="f7a4c83f7291193b" providerId="LiveId" clId="{390F7C49-35BB-4113-AA48-3851A3876BC5}" dt="2019-02-05T17:34:15.775" v="89" actId="2696"/>
          <pc:sldLayoutMkLst>
            <pc:docMk/>
            <pc:sldMasterMk cId="0" sldId="2147483648"/>
            <pc:sldLayoutMk cId="0" sldId="2147483649"/>
          </pc:sldLayoutMkLst>
        </pc:sldLayoutChg>
        <pc:sldLayoutChg chg="del">
          <pc:chgData name="anett mehler-bicher" userId="f7a4c83f7291193b" providerId="LiveId" clId="{390F7C49-35BB-4113-AA48-3851A3876BC5}" dt="2019-02-05T17:34:19.067" v="92" actId="2696"/>
          <pc:sldLayoutMkLst>
            <pc:docMk/>
            <pc:sldMasterMk cId="0" sldId="2147483648"/>
            <pc:sldLayoutMk cId="4274941863" sldId="2147483650"/>
          </pc:sldLayoutMkLst>
        </pc:sldLayoutChg>
        <pc:sldLayoutChg chg="del">
          <pc:chgData name="anett mehler-bicher" userId="f7a4c83f7291193b" providerId="LiveId" clId="{390F7C49-35BB-4113-AA48-3851A3876BC5}" dt="2019-02-05T17:34:20.164" v="93" actId="2696"/>
          <pc:sldLayoutMkLst>
            <pc:docMk/>
            <pc:sldMasterMk cId="0" sldId="2147483648"/>
            <pc:sldLayoutMk cId="632888010" sldId="2147483652"/>
          </pc:sldLayoutMkLst>
        </pc:sldLayoutChg>
        <pc:sldLayoutChg chg="del">
          <pc:chgData name="anett mehler-bicher" userId="f7a4c83f7291193b" providerId="LiveId" clId="{390F7C49-35BB-4113-AA48-3851A3876BC5}" dt="2019-02-05T17:34:21.638" v="94" actId="2696"/>
          <pc:sldLayoutMkLst>
            <pc:docMk/>
            <pc:sldMasterMk cId="0" sldId="2147483648"/>
            <pc:sldLayoutMk cId="4049534357" sldId="2147483654"/>
          </pc:sldLayoutMkLst>
        </pc:sldLayoutChg>
        <pc:sldLayoutChg chg="del">
          <pc:chgData name="anett mehler-bicher" userId="f7a4c83f7291193b" providerId="LiveId" clId="{390F7C49-35BB-4113-AA48-3851A3876BC5}" dt="2019-02-05T17:34:22.689" v="95" actId="2696"/>
          <pc:sldLayoutMkLst>
            <pc:docMk/>
            <pc:sldMasterMk cId="0" sldId="2147483648"/>
            <pc:sldLayoutMk cId="2571912849" sldId="2147483660"/>
          </pc:sldLayoutMkLst>
        </pc:sldLayoutChg>
        <pc:sldLayoutChg chg="del">
          <pc:chgData name="anett mehler-bicher" userId="f7a4c83f7291193b" providerId="LiveId" clId="{390F7C49-35BB-4113-AA48-3851A3876BC5}" dt="2019-02-05T17:34:17.969" v="91" actId="2696"/>
          <pc:sldLayoutMkLst>
            <pc:docMk/>
            <pc:sldMasterMk cId="0" sldId="2147483648"/>
            <pc:sldLayoutMk cId="262593858" sldId="2147483662"/>
          </pc:sldLayoutMkLst>
        </pc:sldLayoutChg>
        <pc:sldLayoutChg chg="del">
          <pc:chgData name="anett mehler-bicher" userId="f7a4c83f7291193b" providerId="LiveId" clId="{390F7C49-35BB-4113-AA48-3851A3876BC5}" dt="2019-02-05T17:34:17.012" v="90" actId="2696"/>
          <pc:sldLayoutMkLst>
            <pc:docMk/>
            <pc:sldMasterMk cId="0" sldId="2147483648"/>
            <pc:sldLayoutMk cId="1099102625" sldId="2147483663"/>
          </pc:sldLayoutMkLst>
        </pc:sldLayoutChg>
        <pc:sldLayoutChg chg="del">
          <pc:chgData name="anett mehler-bicher" userId="f7a4c83f7291193b" providerId="LiveId" clId="{390F7C49-35BB-4113-AA48-3851A3876BC5}" dt="2019-02-05T17:34:14.896" v="87" actId="2696"/>
          <pc:sldLayoutMkLst>
            <pc:docMk/>
            <pc:sldMasterMk cId="0" sldId="2147483648"/>
            <pc:sldLayoutMk cId="4272467442" sldId="2147483664"/>
          </pc:sldLayoutMkLst>
        </pc:sldLayoutChg>
        <pc:sldLayoutChg chg="del">
          <pc:chgData name="anett mehler-bicher" userId="f7a4c83f7291193b" providerId="LiveId" clId="{390F7C49-35BB-4113-AA48-3851A3876BC5}" dt="2019-02-05T17:34:15.303" v="88" actId="2696"/>
          <pc:sldLayoutMkLst>
            <pc:docMk/>
            <pc:sldMasterMk cId="0" sldId="2147483648"/>
            <pc:sldLayoutMk cId="312749244" sldId="2147483665"/>
          </pc:sldLayoutMkLst>
        </pc:sldLayoutChg>
        <pc:sldLayoutChg chg="addSp delSp modSp">
          <pc:chgData name="anett mehler-bicher" userId="f7a4c83f7291193b" providerId="LiveId" clId="{390F7C49-35BB-4113-AA48-3851A3876BC5}" dt="2019-02-05T17:38:51.896" v="205"/>
          <pc:sldLayoutMkLst>
            <pc:docMk/>
            <pc:sldMasterMk cId="0" sldId="2147483648"/>
            <pc:sldLayoutMk cId="1630509165" sldId="2147483666"/>
          </pc:sldLayoutMkLst>
          <pc:spChg chg="mod">
            <ac:chgData name="anett mehler-bicher" userId="f7a4c83f7291193b" providerId="LiveId" clId="{390F7C49-35BB-4113-AA48-3851A3876BC5}" dt="2019-02-05T17:38:51.896" v="205"/>
            <ac:spMkLst>
              <pc:docMk/>
              <pc:sldMasterMk cId="0" sldId="2147483648"/>
              <pc:sldLayoutMk cId="1630509165" sldId="2147483666"/>
              <ac:spMk id="5" creationId="{00000000-0000-0000-0000-000000000000}"/>
            </ac:spMkLst>
          </pc:spChg>
          <pc:spChg chg="mod">
            <ac:chgData name="anett mehler-bicher" userId="f7a4c83f7291193b" providerId="LiveId" clId="{390F7C49-35BB-4113-AA48-3851A3876BC5}" dt="2019-02-05T17:38:51.896" v="205"/>
            <ac:spMkLst>
              <pc:docMk/>
              <pc:sldMasterMk cId="0" sldId="2147483648"/>
              <pc:sldLayoutMk cId="1630509165" sldId="2147483666"/>
              <ac:spMk id="6" creationId="{00000000-0000-0000-0000-000000000000}"/>
            </ac:spMkLst>
          </pc:spChg>
          <pc:spChg chg="mod">
            <ac:chgData name="anett mehler-bicher" userId="f7a4c83f7291193b" providerId="LiveId" clId="{390F7C49-35BB-4113-AA48-3851A3876BC5}" dt="2019-02-05T17:38:51.896" v="205"/>
            <ac:spMkLst>
              <pc:docMk/>
              <pc:sldMasterMk cId="0" sldId="2147483648"/>
              <pc:sldLayoutMk cId="1630509165" sldId="2147483666"/>
              <ac:spMk id="9" creationId="{00000000-0000-0000-0000-000000000000}"/>
            </ac:spMkLst>
          </pc:spChg>
          <pc:spChg chg="mod">
            <ac:chgData name="anett mehler-bicher" userId="f7a4c83f7291193b" providerId="LiveId" clId="{390F7C49-35BB-4113-AA48-3851A3876BC5}" dt="2019-02-05T17:38:51.896" v="205"/>
            <ac:spMkLst>
              <pc:docMk/>
              <pc:sldMasterMk cId="0" sldId="2147483648"/>
              <pc:sldLayoutMk cId="1630509165" sldId="2147483666"/>
              <ac:spMk id="13" creationId="{00000000-0000-0000-0000-000000000000}"/>
            </ac:spMkLst>
          </pc:spChg>
          <pc:spChg chg="mod">
            <ac:chgData name="anett mehler-bicher" userId="f7a4c83f7291193b" providerId="LiveId" clId="{390F7C49-35BB-4113-AA48-3851A3876BC5}" dt="2019-02-05T17:38:51.896" v="205"/>
            <ac:spMkLst>
              <pc:docMk/>
              <pc:sldMasterMk cId="0" sldId="2147483648"/>
              <pc:sldLayoutMk cId="1630509165" sldId="2147483666"/>
              <ac:spMk id="14" creationId="{00000000-0000-0000-0000-000000000000}"/>
            </ac:spMkLst>
          </pc:spChg>
          <pc:picChg chg="del mod">
            <ac:chgData name="anett mehler-bicher" userId="f7a4c83f7291193b" providerId="LiveId" clId="{390F7C49-35BB-4113-AA48-3851A3876BC5}" dt="2019-02-05T17:34:54.442" v="97" actId="478"/>
            <ac:picMkLst>
              <pc:docMk/>
              <pc:sldMasterMk cId="0" sldId="2147483648"/>
              <pc:sldLayoutMk cId="1630509165" sldId="2147483666"/>
              <ac:picMk id="8" creationId="{00000000-0000-0000-0000-000000000000}"/>
            </ac:picMkLst>
          </pc:picChg>
          <pc:picChg chg="add mod">
            <ac:chgData name="anett mehler-bicher" userId="f7a4c83f7291193b" providerId="LiveId" clId="{390F7C49-35BB-4113-AA48-3851A3876BC5}" dt="2019-02-05T17:38:51.896" v="205"/>
            <ac:picMkLst>
              <pc:docMk/>
              <pc:sldMasterMk cId="0" sldId="2147483648"/>
              <pc:sldLayoutMk cId="1630509165" sldId="2147483666"/>
              <ac:picMk id="10" creationId="{D3B92264-F32C-4DC0-8C7C-8003113AE557}"/>
            </ac:picMkLst>
          </pc:picChg>
        </pc:sldLayoutChg>
        <pc:sldLayoutChg chg="addSp delSp modSp">
          <pc:chgData name="anett mehler-bicher" userId="f7a4c83f7291193b" providerId="LiveId" clId="{390F7C49-35BB-4113-AA48-3851A3876BC5}" dt="2019-02-05T17:38:51.896" v="205"/>
          <pc:sldLayoutMkLst>
            <pc:docMk/>
            <pc:sldMasterMk cId="0" sldId="2147483648"/>
            <pc:sldLayoutMk cId="2773406798" sldId="2147483667"/>
          </pc:sldLayoutMkLst>
          <pc:spChg chg="del">
            <ac:chgData name="anett mehler-bicher" userId="f7a4c83f7291193b" providerId="LiveId" clId="{390F7C49-35BB-4113-AA48-3851A3876BC5}" dt="2019-02-05T17:36:31.154" v="120" actId="478"/>
            <ac:spMkLst>
              <pc:docMk/>
              <pc:sldMasterMk cId="0" sldId="2147483648"/>
              <pc:sldLayoutMk cId="2773406798" sldId="2147483667"/>
              <ac:spMk id="5" creationId="{00000000-0000-0000-0000-000000000000}"/>
            </ac:spMkLst>
          </pc:spChg>
          <pc:spChg chg="del">
            <ac:chgData name="anett mehler-bicher" userId="f7a4c83f7291193b" providerId="LiveId" clId="{390F7C49-35BB-4113-AA48-3851A3876BC5}" dt="2019-02-05T17:36:31.154" v="120" actId="478"/>
            <ac:spMkLst>
              <pc:docMk/>
              <pc:sldMasterMk cId="0" sldId="2147483648"/>
              <pc:sldLayoutMk cId="2773406798" sldId="2147483667"/>
              <ac:spMk id="6" creationId="{00000000-0000-0000-0000-000000000000}"/>
            </ac:spMkLst>
          </pc:spChg>
          <pc:spChg chg="del">
            <ac:chgData name="anett mehler-bicher" userId="f7a4c83f7291193b" providerId="LiveId" clId="{390F7C49-35BB-4113-AA48-3851A3876BC5}" dt="2019-02-05T17:36:31.154" v="120" actId="478"/>
            <ac:spMkLst>
              <pc:docMk/>
              <pc:sldMasterMk cId="0" sldId="2147483648"/>
              <pc:sldLayoutMk cId="2773406798" sldId="2147483667"/>
              <ac:spMk id="9" creationId="{00000000-0000-0000-0000-000000000000}"/>
            </ac:spMkLst>
          </pc:spChg>
          <pc:spChg chg="del">
            <ac:chgData name="anett mehler-bicher" userId="f7a4c83f7291193b" providerId="LiveId" clId="{390F7C49-35BB-4113-AA48-3851A3876BC5}" dt="2019-02-05T17:36:31.154" v="120" actId="478"/>
            <ac:spMkLst>
              <pc:docMk/>
              <pc:sldMasterMk cId="0" sldId="2147483648"/>
              <pc:sldLayoutMk cId="2773406798" sldId="2147483667"/>
              <ac:spMk id="13" creationId="{00000000-0000-0000-0000-000000000000}"/>
            </ac:spMkLst>
          </pc:spChg>
          <pc:spChg chg="del">
            <ac:chgData name="anett mehler-bicher" userId="f7a4c83f7291193b" providerId="LiveId" clId="{390F7C49-35BB-4113-AA48-3851A3876BC5}" dt="2019-02-05T17:36:31.154" v="120" actId="478"/>
            <ac:spMkLst>
              <pc:docMk/>
              <pc:sldMasterMk cId="0" sldId="2147483648"/>
              <pc:sldLayoutMk cId="2773406798" sldId="2147483667"/>
              <ac:spMk id="14" creationId="{00000000-0000-0000-0000-000000000000}"/>
            </ac:spMkLst>
          </pc:spChg>
          <pc:picChg chg="add mod">
            <ac:chgData name="anett mehler-bicher" userId="f7a4c83f7291193b" providerId="LiveId" clId="{390F7C49-35BB-4113-AA48-3851A3876BC5}" dt="2019-02-05T17:38:51.896" v="205"/>
            <ac:picMkLst>
              <pc:docMk/>
              <pc:sldMasterMk cId="0" sldId="2147483648"/>
              <pc:sldLayoutMk cId="2773406798" sldId="2147483667"/>
              <ac:picMk id="8" creationId="{5C4F37F6-9267-457F-B23B-4395DFAC601F}"/>
            </ac:picMkLst>
          </pc:picChg>
          <pc:picChg chg="del">
            <ac:chgData name="anett mehler-bicher" userId="f7a4c83f7291193b" providerId="LiveId" clId="{390F7C49-35BB-4113-AA48-3851A3876BC5}" dt="2019-02-05T17:36:31.154" v="120" actId="478"/>
            <ac:picMkLst>
              <pc:docMk/>
              <pc:sldMasterMk cId="0" sldId="2147483648"/>
              <pc:sldLayoutMk cId="2773406798" sldId="2147483667"/>
              <ac:picMk id="10" creationId="{D3B92264-F32C-4DC0-8C7C-8003113AE557}"/>
            </ac:picMkLst>
          </pc:picChg>
          <pc:picChg chg="add mod">
            <ac:chgData name="anett mehler-bicher" userId="f7a4c83f7291193b" providerId="LiveId" clId="{390F7C49-35BB-4113-AA48-3851A3876BC5}" dt="2019-02-05T17:38:51.896" v="205"/>
            <ac:picMkLst>
              <pc:docMk/>
              <pc:sldMasterMk cId="0" sldId="2147483648"/>
              <pc:sldLayoutMk cId="2773406798" sldId="2147483667"/>
              <ac:picMk id="11" creationId="{C6C468C4-8F7E-4266-BEDC-366F9AEF6C44}"/>
            </ac:picMkLst>
          </pc:picChg>
        </pc:sldLayoutChg>
      </pc:sldMasterChg>
    </pc:docChg>
  </pc:docChgLst>
  <pc:docChgLst>
    <pc:chgData name="anett mehler-bicher" userId="f7a4c83f7291193b" providerId="LiveId" clId="{48F21275-87A7-451B-9941-38A701B61EFE}"/>
    <pc:docChg chg="modSld">
      <pc:chgData name="anett mehler-bicher" userId="f7a4c83f7291193b" providerId="LiveId" clId="{48F21275-87A7-451B-9941-38A701B61EFE}" dt="2019-02-05T17:40:28.672" v="11" actId="20577"/>
      <pc:docMkLst>
        <pc:docMk/>
      </pc:docMkLst>
      <pc:sldChg chg="modSp">
        <pc:chgData name="anett mehler-bicher" userId="f7a4c83f7291193b" providerId="LiveId" clId="{48F21275-87A7-451B-9941-38A701B61EFE}" dt="2019-02-05T17:40:28.672" v="11" actId="20577"/>
        <pc:sldMkLst>
          <pc:docMk/>
          <pc:sldMk cId="2478160398" sldId="588"/>
        </pc:sldMkLst>
        <pc:spChg chg="mod">
          <ac:chgData name="anett mehler-bicher" userId="f7a4c83f7291193b" providerId="LiveId" clId="{48F21275-87A7-451B-9941-38A701B61EFE}" dt="2019-02-05T17:40:28.672" v="11" actId="20577"/>
          <ac:spMkLst>
            <pc:docMk/>
            <pc:sldMk cId="2478160398" sldId="588"/>
            <ac:spMk id="9" creationId="{00000000-0000-0000-0000-000000000000}"/>
          </ac:spMkLst>
        </pc:spChg>
      </pc:sldChg>
    </pc:docChg>
  </pc:docChgLst>
  <pc:docChgLst>
    <pc:chgData name="anett mehler-bicher" userId="f7a4c83f7291193b" providerId="LiveId" clId="{66E1B3E5-B2C1-4B5B-83D1-6FBF4ED6258D}"/>
    <pc:docChg chg="custSel delSld modSld sldOrd modMainMaster">
      <pc:chgData name="anett mehler-bicher" userId="f7a4c83f7291193b" providerId="LiveId" clId="{66E1B3E5-B2C1-4B5B-83D1-6FBF4ED6258D}" dt="2019-02-05T17:52:15.523" v="79" actId="20577"/>
      <pc:docMkLst>
        <pc:docMk/>
      </pc:docMkLst>
      <pc:sldChg chg="addSp modSp ord">
        <pc:chgData name="anett mehler-bicher" userId="f7a4c83f7291193b" providerId="LiveId" clId="{66E1B3E5-B2C1-4B5B-83D1-6FBF4ED6258D}" dt="2019-02-05T17:51:36.119" v="74" actId="20577"/>
        <pc:sldMkLst>
          <pc:docMk/>
          <pc:sldMk cId="1434378195" sldId="281"/>
        </pc:sldMkLst>
        <pc:spChg chg="add mod">
          <ac:chgData name="anett mehler-bicher" userId="f7a4c83f7291193b" providerId="LiveId" clId="{66E1B3E5-B2C1-4B5B-83D1-6FBF4ED6258D}" dt="2019-02-05T17:51:36.119" v="74" actId="20577"/>
          <ac:spMkLst>
            <pc:docMk/>
            <pc:sldMk cId="1434378195" sldId="281"/>
            <ac:spMk id="2" creationId="{EB6A7402-03EF-4CEE-8628-24EBF2D7EB5A}"/>
          </ac:spMkLst>
        </pc:spChg>
      </pc:sldChg>
      <pc:sldChg chg="del">
        <pc:chgData name="anett mehler-bicher" userId="f7a4c83f7291193b" providerId="LiveId" clId="{66E1B3E5-B2C1-4B5B-83D1-6FBF4ED6258D}" dt="2019-02-05T17:49:42.785" v="2" actId="2696"/>
        <pc:sldMkLst>
          <pc:docMk/>
          <pc:sldMk cId="2669086318" sldId="286"/>
        </pc:sldMkLst>
      </pc:sldChg>
      <pc:sldChg chg="ord">
        <pc:chgData name="anett mehler-bicher" userId="f7a4c83f7291193b" providerId="LiveId" clId="{66E1B3E5-B2C1-4B5B-83D1-6FBF4ED6258D}" dt="2019-02-05T17:51:43.818" v="75"/>
        <pc:sldMkLst>
          <pc:docMk/>
          <pc:sldMk cId="2478160398" sldId="588"/>
        </pc:sldMkLst>
      </pc:sldChg>
      <pc:sldMasterChg chg="delSldLayout modSldLayout">
        <pc:chgData name="anett mehler-bicher" userId="f7a4c83f7291193b" providerId="LiveId" clId="{66E1B3E5-B2C1-4B5B-83D1-6FBF4ED6258D}" dt="2019-02-05T17:52:15.523" v="79" actId="20577"/>
        <pc:sldMasterMkLst>
          <pc:docMk/>
          <pc:sldMasterMk cId="0" sldId="2147483648"/>
        </pc:sldMasterMkLst>
        <pc:sldLayoutChg chg="modSp">
          <pc:chgData name="anett mehler-bicher" userId="f7a4c83f7291193b" providerId="LiveId" clId="{66E1B3E5-B2C1-4B5B-83D1-6FBF4ED6258D}" dt="2019-02-05T17:52:15.523" v="79" actId="20577"/>
          <pc:sldLayoutMkLst>
            <pc:docMk/>
            <pc:sldMasterMk cId="0" sldId="2147483648"/>
            <pc:sldLayoutMk cId="1630509165" sldId="2147483666"/>
          </pc:sldLayoutMkLst>
          <pc:spChg chg="mod">
            <ac:chgData name="anett mehler-bicher" userId="f7a4c83f7291193b" providerId="LiveId" clId="{66E1B3E5-B2C1-4B5B-83D1-6FBF4ED6258D}" dt="2019-02-05T17:52:15.523" v="79" actId="20577"/>
            <ac:spMkLst>
              <pc:docMk/>
              <pc:sldMasterMk cId="0" sldId="2147483648"/>
              <pc:sldLayoutMk cId="1630509165" sldId="2147483666"/>
              <ac:spMk id="5" creationId="{00000000-0000-0000-0000-000000000000}"/>
            </ac:spMkLst>
          </pc:spChg>
        </pc:sldLayoutChg>
        <pc:sldLayoutChg chg="del">
          <pc:chgData name="anett mehler-bicher" userId="f7a4c83f7291193b" providerId="LiveId" clId="{66E1B3E5-B2C1-4B5B-83D1-6FBF4ED6258D}" dt="2019-02-05T17:49:42.785" v="3" actId="2696"/>
          <pc:sldLayoutMkLst>
            <pc:docMk/>
            <pc:sldMasterMk cId="0" sldId="2147483648"/>
            <pc:sldLayoutMk cId="2715120646" sldId="2147483668"/>
          </pc:sldLayoutMkLst>
        </pc:sldLayoutChg>
        <pc:sldLayoutChg chg="addSp delSp modSp">
          <pc:chgData name="anett mehler-bicher" userId="f7a4c83f7291193b" providerId="LiveId" clId="{66E1B3E5-B2C1-4B5B-83D1-6FBF4ED6258D}" dt="2019-02-05T17:51:01.811" v="9"/>
          <pc:sldLayoutMkLst>
            <pc:docMk/>
            <pc:sldMasterMk cId="0" sldId="2147483648"/>
            <pc:sldLayoutMk cId="2985574845" sldId="2147483669"/>
          </pc:sldLayoutMkLst>
          <pc:spChg chg="mod">
            <ac:chgData name="anett mehler-bicher" userId="f7a4c83f7291193b" providerId="LiveId" clId="{66E1B3E5-B2C1-4B5B-83D1-6FBF4ED6258D}" dt="2019-02-05T17:49:06.566" v="0" actId="207"/>
            <ac:spMkLst>
              <pc:docMk/>
              <pc:sldMasterMk cId="0" sldId="2147483648"/>
              <pc:sldLayoutMk cId="2985574845" sldId="2147483669"/>
              <ac:spMk id="4" creationId="{00000000-0000-0000-0000-000000000000}"/>
            </ac:spMkLst>
          </pc:spChg>
          <pc:spChg chg="del mod">
            <ac:chgData name="anett mehler-bicher" userId="f7a4c83f7291193b" providerId="LiveId" clId="{66E1B3E5-B2C1-4B5B-83D1-6FBF4ED6258D}" dt="2019-02-05T17:51:01.811" v="9"/>
            <ac:spMkLst>
              <pc:docMk/>
              <pc:sldMasterMk cId="0" sldId="2147483648"/>
              <pc:sldLayoutMk cId="2985574845" sldId="2147483669"/>
              <ac:spMk id="9219" creationId="{00000000-0000-0000-0000-000000000000}"/>
            </ac:spMkLst>
          </pc:spChg>
          <pc:picChg chg="add mod">
            <ac:chgData name="anett mehler-bicher" userId="f7a4c83f7291193b" providerId="LiveId" clId="{66E1B3E5-B2C1-4B5B-83D1-6FBF4ED6258D}" dt="2019-02-05T17:50:24.696" v="7" actId="14100"/>
            <ac:picMkLst>
              <pc:docMk/>
              <pc:sldMasterMk cId="0" sldId="2147483648"/>
              <pc:sldLayoutMk cId="2985574845" sldId="2147483669"/>
              <ac:picMk id="3" creationId="{3EC8FCA5-15B6-434E-9BAA-5CA87151DB19}"/>
            </ac:picMkLst>
          </pc:picChg>
          <pc:picChg chg="del">
            <ac:chgData name="anett mehler-bicher" userId="f7a4c83f7291193b" providerId="LiveId" clId="{66E1B3E5-B2C1-4B5B-83D1-6FBF4ED6258D}" dt="2019-02-05T17:50:19.711" v="5" actId="478"/>
            <ac:picMkLst>
              <pc:docMk/>
              <pc:sldMasterMk cId="0" sldId="2147483648"/>
              <pc:sldLayoutMk cId="2985574845" sldId="2147483669"/>
              <ac:picMk id="5" creationId="{FDF861A0-8A8B-F74C-9961-FE3EC210E0FC}"/>
            </ac:picMkLst>
          </pc:pic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FCD48E-6210-DE4B-B386-87783A5CB2FE}" type="datetimeFigureOut">
              <a:rPr lang="de-DE" smtClean="0"/>
              <a:t>25.07.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D2E19E-2BE2-2F46-9BD4-628CEA420D0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65302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2588" y="685800"/>
            <a:ext cx="6092825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DC40A9B-F604-0249-99E8-DE45B5A5C37C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339832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576072"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1152144"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728216"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2304288"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880360" algn="l" defTabSz="57607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57607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57607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57607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auto">
          <a:xfrm>
            <a:off x="1" y="2"/>
            <a:ext cx="15360650" cy="8640763"/>
          </a:xfrm>
          <a:prstGeom prst="rect">
            <a:avLst/>
          </a:prstGeom>
          <a:solidFill>
            <a:srgbClr val="F29400"/>
          </a:solidFill>
          <a:ln>
            <a:noFill/>
          </a:ln>
          <a:effectLst/>
          <a:extLst/>
        </p:spPr>
        <p:txBody>
          <a:bodyPr vert="horz" wrap="square" lIns="115214" tIns="57607" rIns="115214" bIns="57607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1521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55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EC8FCA5-15B6-434E-9BAA-5CA87151DB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2981" y="710119"/>
            <a:ext cx="4219750" cy="1306006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631950" y="2879725"/>
            <a:ext cx="12385079" cy="3240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6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55748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836">
          <p15:clr>
            <a:srgbClr val="FBAE40"/>
          </p15:clr>
        </p15:guide>
        <p15:guide id="2" orient="horz" pos="2721">
          <p15:clr>
            <a:srgbClr val="FBAE40"/>
          </p15:clr>
        </p15:guide>
        <p15:guide id="3" pos="5290">
          <p15:clr>
            <a:srgbClr val="FBAE40"/>
          </p15:clr>
        </p15:guide>
        <p15:guide id="4" pos="5743">
          <p15:clr>
            <a:srgbClr val="FBAE40"/>
          </p15:clr>
        </p15:guide>
        <p15:guide id="5" pos="6197">
          <p15:clr>
            <a:srgbClr val="FBAE40"/>
          </p15:clr>
        </p15:guide>
        <p15:guide id="6" pos="6650">
          <p15:clr>
            <a:srgbClr val="FBAE40"/>
          </p15:clr>
        </p15:guide>
        <p15:guide id="7" pos="7104">
          <p15:clr>
            <a:srgbClr val="FBAE40"/>
          </p15:clr>
        </p15:guide>
        <p15:guide id="8" pos="7558">
          <p15:clr>
            <a:srgbClr val="FBAE40"/>
          </p15:clr>
        </p15:guide>
        <p15:guide id="9" pos="8011">
          <p15:clr>
            <a:srgbClr val="FBAE40"/>
          </p15:clr>
        </p15:guide>
        <p15:guide id="10" pos="8465">
          <p15:clr>
            <a:srgbClr val="FBAE40"/>
          </p15:clr>
        </p15:guide>
        <p15:guide id="11" pos="8918">
          <p15:clr>
            <a:srgbClr val="FBAE40"/>
          </p15:clr>
        </p15:guide>
        <p15:guide id="12" pos="9372">
          <p15:clr>
            <a:srgbClr val="FBAE40"/>
          </p15:clr>
        </p15:guide>
        <p15:guide id="13" pos="4382">
          <p15:clr>
            <a:srgbClr val="FBAE40"/>
          </p15:clr>
        </p15:guide>
        <p15:guide id="14" pos="3929">
          <p15:clr>
            <a:srgbClr val="FBAE40"/>
          </p15:clr>
        </p15:guide>
        <p15:guide id="15" pos="3475">
          <p15:clr>
            <a:srgbClr val="FBAE40"/>
          </p15:clr>
        </p15:guide>
        <p15:guide id="16" pos="3022">
          <p15:clr>
            <a:srgbClr val="FBAE40"/>
          </p15:clr>
        </p15:guide>
        <p15:guide id="17" pos="2568">
          <p15:clr>
            <a:srgbClr val="FBAE40"/>
          </p15:clr>
        </p15:guide>
        <p15:guide id="18" pos="2114">
          <p15:clr>
            <a:srgbClr val="FBAE40"/>
          </p15:clr>
        </p15:guide>
        <p15:guide id="19" pos="1661">
          <p15:clr>
            <a:srgbClr val="FBAE40"/>
          </p15:clr>
        </p15:guide>
        <p15:guide id="20" pos="1207">
          <p15:clr>
            <a:srgbClr val="FBAE40"/>
          </p15:clr>
        </p15:guide>
        <p15:guide id="21" pos="754">
          <p15:clr>
            <a:srgbClr val="FBAE40"/>
          </p15:clr>
        </p15:guide>
        <p15:guide id="22" pos="300">
          <p15:clr>
            <a:srgbClr val="FBAE40"/>
          </p15:clr>
        </p15:guide>
        <p15:guide id="23" orient="horz" pos="3175">
          <p15:clr>
            <a:srgbClr val="FBAE40"/>
          </p15:clr>
        </p15:guide>
        <p15:guide id="24" orient="horz" pos="3629">
          <p15:clr>
            <a:srgbClr val="FBAE40"/>
          </p15:clr>
        </p15:guide>
        <p15:guide id="25" orient="horz" pos="4082">
          <p15:clr>
            <a:srgbClr val="FBAE40"/>
          </p15:clr>
        </p15:guide>
        <p15:guide id="26" pos="9672">
          <p15:clr>
            <a:srgbClr val="FBAE40"/>
          </p15:clr>
        </p15:guide>
        <p15:guide id="27">
          <p15:clr>
            <a:srgbClr val="FBAE40"/>
          </p15:clr>
        </p15:guide>
        <p15:guide id="28" orient="horz" pos="2268">
          <p15:clr>
            <a:srgbClr val="FBAE40"/>
          </p15:clr>
        </p15:guide>
        <p15:guide id="29" orient="horz" pos="1814">
          <p15:clr>
            <a:srgbClr val="FBAE40"/>
          </p15:clr>
        </p15:guide>
        <p15:guide id="30" orient="horz" pos="1361">
          <p15:clr>
            <a:srgbClr val="FBAE40"/>
          </p15:clr>
        </p15:guide>
        <p15:guide id="31" orient="horz" pos="907">
          <p15:clr>
            <a:srgbClr val="FBAE40"/>
          </p15:clr>
        </p15:guide>
        <p15:guide id="32" orient="horz" pos="454">
          <p15:clr>
            <a:srgbClr val="FBAE40"/>
          </p15:clr>
        </p15:guide>
        <p15:guide id="33" orient="horz" pos="4536">
          <p15:clr>
            <a:srgbClr val="FBAE40"/>
          </p15:clr>
        </p15:guide>
        <p15:guide id="34" orient="horz" pos="4989">
          <p15:clr>
            <a:srgbClr val="FBAE40"/>
          </p15:clr>
        </p15:guide>
        <p15:guide id="35" orient="horz">
          <p15:clr>
            <a:srgbClr val="FBAE40"/>
          </p15:clr>
        </p15:guide>
        <p15:guide id="36" orient="horz" pos="5443">
          <p15:clr>
            <a:srgbClr val="FBAE40"/>
          </p15:clr>
        </p15:guide>
        <p15:guide id="37" pos="527">
          <p15:clr>
            <a:srgbClr val="FBAE40"/>
          </p15:clr>
        </p15:guide>
        <p15:guide id="38" orient="horz" pos="680">
          <p15:clr>
            <a:srgbClr val="FBAE40"/>
          </p15:clr>
        </p15:guide>
        <p15:guide id="39" pos="9145">
          <p15:clr>
            <a:srgbClr val="FBAE40"/>
          </p15:clr>
        </p15:guide>
        <p15:guide id="40" orient="horz" pos="4763">
          <p15:clr>
            <a:srgbClr val="FBAE40"/>
          </p15:clr>
        </p15:guide>
        <p15:guide id="41" orient="horz" pos="22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 txBox="1">
            <a:spLocks noChangeArrowheads="1"/>
          </p:cNvSpPr>
          <p:nvPr userDrawn="1"/>
        </p:nvSpPr>
        <p:spPr bwMode="auto">
          <a:xfrm>
            <a:off x="9048477" y="8119717"/>
            <a:ext cx="5768690" cy="290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15157" tIns="57579" rIns="115157" bIns="57579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191919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de-DE" sz="1133" dirty="0" smtClean="0">
                <a:latin typeface="Calibri" panose="020F0502020204030204" pitchFamily="34" charset="0"/>
                <a:cs typeface="Calibri" panose="020F0502020204030204" pitchFamily="34" charset="0"/>
              </a:rPr>
              <a:t>MSP | Team</a:t>
            </a:r>
            <a:r>
              <a:rPr lang="de-DE" sz="1133" baseline="0" dirty="0" smtClean="0">
                <a:latin typeface="Calibri" panose="020F0502020204030204" pitchFamily="34" charset="0"/>
                <a:cs typeface="Calibri" panose="020F0502020204030204" pitchFamily="34" charset="0"/>
              </a:rPr>
              <a:t> XX | </a:t>
            </a:r>
            <a:r>
              <a:rPr lang="de-DE" sz="1133" baseline="0" dirty="0" smtClean="0">
                <a:latin typeface="Calibri" panose="020F0502020204030204" pitchFamily="34" charset="0"/>
                <a:cs typeface="Calibri" panose="020F0502020204030204" pitchFamily="34" charset="0"/>
              </a:rPr>
              <a:t>Vorname1 Nachname1</a:t>
            </a:r>
            <a:endParaRPr lang="de-DE" sz="1133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 4"/>
          <p:cNvSpPr txBox="1">
            <a:spLocks noChangeArrowheads="1"/>
          </p:cNvSpPr>
          <p:nvPr userDrawn="1"/>
        </p:nvSpPr>
        <p:spPr bwMode="auto">
          <a:xfrm>
            <a:off x="7261381" y="8119717"/>
            <a:ext cx="923209" cy="290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15157" tIns="57579" rIns="115157" bIns="57579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191919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de-DE" sz="1133" dirty="0">
                <a:latin typeface="Calibri" panose="020F0502020204030204" pitchFamily="34" charset="0"/>
                <a:cs typeface="Calibri" panose="020F0502020204030204" pitchFamily="34" charset="0"/>
              </a:rPr>
              <a:t>Folie </a:t>
            </a:r>
            <a:fld id="{B429B77F-508F-498B-88B5-94F248EC2D29}" type="slidenum">
              <a:rPr lang="de-DE" sz="1133" smtClean="0">
                <a:latin typeface="Calibri" panose="020F0502020204030204" pitchFamily="34" charset="0"/>
                <a:cs typeface="Calibri" panose="020F0502020204030204" pitchFamily="34" charset="0"/>
              </a:rPr>
              <a:pPr algn="l"/>
              <a:t>‹Nr.›</a:t>
            </a:fld>
            <a:endParaRPr lang="de-DE" sz="1133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611159" y="2430204"/>
            <a:ext cx="14270066" cy="5130537"/>
          </a:xfrm>
          <a:prstGeom prst="rect">
            <a:avLst/>
          </a:prstGeom>
        </p:spPr>
        <p:txBody>
          <a:bodyPr/>
          <a:lstStyle>
            <a:lvl1pPr>
              <a:spcBef>
                <a:spcPts val="756"/>
              </a:spcBef>
              <a:defRPr sz="3023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756"/>
              </a:spcBef>
              <a:defRPr sz="2519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spcBef>
                <a:spcPts val="756"/>
              </a:spcBef>
              <a:defRPr sz="2267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spcBef>
                <a:spcPts val="756"/>
              </a:spcBef>
              <a:defRPr sz="1763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495123" indent="-287899">
              <a:spcBef>
                <a:spcPts val="756"/>
              </a:spcBef>
              <a:buFont typeface="Arial" panose="020B0604020202020204" pitchFamily="34" charset="0"/>
              <a:buChar char="•"/>
              <a:defRPr sz="1511" baseline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sz="1511" dirty="0"/>
              <a:t>Fünfte Ebene</a:t>
            </a:r>
            <a:endParaRPr lang="de-DE" dirty="0"/>
          </a:p>
        </p:txBody>
      </p:sp>
      <p:sp>
        <p:nvSpPr>
          <p:cNvPr id="13" name="Inhaltsplatzhalter 2"/>
          <p:cNvSpPr>
            <a:spLocks noGrp="1"/>
          </p:cNvSpPr>
          <p:nvPr>
            <p:ph idx="11"/>
          </p:nvPr>
        </p:nvSpPr>
        <p:spPr>
          <a:xfrm>
            <a:off x="611159" y="1423590"/>
            <a:ext cx="14240653" cy="810077"/>
          </a:xfrm>
          <a:prstGeom prst="rect">
            <a:avLst/>
          </a:prstGeom>
        </p:spPr>
        <p:txBody>
          <a:bodyPr/>
          <a:lstStyle>
            <a:lvl1pPr>
              <a:buNone/>
              <a:defRPr sz="2519">
                <a:solidFill>
                  <a:srgbClr val="F294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267">
                <a:latin typeface="Lucida Sans" pitchFamily="34" charset="0"/>
              </a:defRPr>
            </a:lvl2pPr>
            <a:lvl3pPr>
              <a:defRPr sz="2015">
                <a:latin typeface="Lucida Sans" pitchFamily="34" charset="0"/>
              </a:defRPr>
            </a:lvl3pPr>
            <a:lvl4pPr>
              <a:defRPr sz="1763">
                <a:latin typeface="Lucida Sans" pitchFamily="34" charset="0"/>
              </a:defRPr>
            </a:lvl4pPr>
            <a:lvl5pPr>
              <a:defRPr sz="1511">
                <a:latin typeface="Lucida Sans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2"/>
          </p:nvPr>
        </p:nvSpPr>
        <p:spPr>
          <a:xfrm>
            <a:off x="611159" y="697776"/>
            <a:ext cx="14240653" cy="810077"/>
          </a:xfrm>
          <a:prstGeom prst="rect">
            <a:avLst/>
          </a:prstGeom>
        </p:spPr>
        <p:txBody>
          <a:bodyPr/>
          <a:lstStyle>
            <a:lvl1pPr>
              <a:buNone/>
              <a:defRPr sz="4030">
                <a:solidFill>
                  <a:srgbClr val="C479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267">
                <a:latin typeface="Lucida Sans" pitchFamily="34" charset="0"/>
              </a:defRPr>
            </a:lvl2pPr>
            <a:lvl3pPr>
              <a:defRPr sz="2015">
                <a:latin typeface="Lucida Sans" pitchFamily="34" charset="0"/>
              </a:defRPr>
            </a:lvl3pPr>
            <a:lvl4pPr>
              <a:defRPr sz="1763">
                <a:latin typeface="Lucida Sans" pitchFamily="34" charset="0"/>
              </a:defRPr>
            </a:lvl4pPr>
            <a:lvl5pPr>
              <a:defRPr sz="1511">
                <a:latin typeface="Lucida Sans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pic>
        <p:nvPicPr>
          <p:cNvPr id="10" name="Bild 1" descr="HSM_Logo_W_orange_lang.eps">
            <a:extLst>
              <a:ext uri="{FF2B5EF4-FFF2-40B4-BE49-F238E27FC236}">
                <a16:creationId xmlns:a16="http://schemas.microsoft.com/office/drawing/2014/main" id="{D3B92264-F32C-4DC0-8C7C-8003113AE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06" y="8164730"/>
            <a:ext cx="4680709" cy="200600"/>
          </a:xfrm>
          <a:prstGeom prst="rect">
            <a:avLst/>
          </a:prstGeom>
        </p:spPr>
      </p:pic>
      <p:sp>
        <p:nvSpPr>
          <p:cNvPr id="8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606209" y="7685269"/>
            <a:ext cx="14240653" cy="434447"/>
          </a:xfrm>
          <a:prstGeom prst="rect">
            <a:avLst/>
          </a:prstGeo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105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39426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9374">
          <p15:clr>
            <a:srgbClr val="FBAE40"/>
          </p15:clr>
        </p15:guide>
        <p15:guide id="2" orient="horz" pos="140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 txBox="1">
            <a:spLocks noChangeArrowheads="1"/>
          </p:cNvSpPr>
          <p:nvPr userDrawn="1"/>
        </p:nvSpPr>
        <p:spPr bwMode="auto">
          <a:xfrm>
            <a:off x="9048477" y="8119717"/>
            <a:ext cx="5768690" cy="290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15157" tIns="57579" rIns="115157" bIns="57579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191919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de-DE" sz="1133" dirty="0" smtClean="0">
                <a:latin typeface="Calibri" panose="020F0502020204030204" pitchFamily="34" charset="0"/>
                <a:cs typeface="Calibri" panose="020F0502020204030204" pitchFamily="34" charset="0"/>
              </a:rPr>
              <a:t>MSP | Team</a:t>
            </a:r>
            <a:r>
              <a:rPr lang="de-DE" sz="1133" baseline="0" dirty="0" smtClean="0">
                <a:latin typeface="Calibri" panose="020F0502020204030204" pitchFamily="34" charset="0"/>
                <a:cs typeface="Calibri" panose="020F0502020204030204" pitchFamily="34" charset="0"/>
              </a:rPr>
              <a:t> XX | </a:t>
            </a:r>
            <a:r>
              <a:rPr lang="de-DE" sz="1133" baseline="0" dirty="0" smtClean="0">
                <a:latin typeface="Calibri" panose="020F0502020204030204" pitchFamily="34" charset="0"/>
                <a:cs typeface="Calibri" panose="020F0502020204030204" pitchFamily="34" charset="0"/>
              </a:rPr>
              <a:t>Vorname2 Nachname2</a:t>
            </a:r>
            <a:endParaRPr lang="de-DE" sz="1133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 4"/>
          <p:cNvSpPr txBox="1">
            <a:spLocks noChangeArrowheads="1"/>
          </p:cNvSpPr>
          <p:nvPr userDrawn="1"/>
        </p:nvSpPr>
        <p:spPr bwMode="auto">
          <a:xfrm>
            <a:off x="7261381" y="8119717"/>
            <a:ext cx="923209" cy="290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15157" tIns="57579" rIns="115157" bIns="57579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191919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de-DE" sz="1133" dirty="0">
                <a:latin typeface="Calibri" panose="020F0502020204030204" pitchFamily="34" charset="0"/>
                <a:cs typeface="Calibri" panose="020F0502020204030204" pitchFamily="34" charset="0"/>
              </a:rPr>
              <a:t>Folie </a:t>
            </a:r>
            <a:fld id="{B429B77F-508F-498B-88B5-94F248EC2D29}" type="slidenum">
              <a:rPr lang="de-DE" sz="1133" smtClean="0">
                <a:latin typeface="Calibri" panose="020F0502020204030204" pitchFamily="34" charset="0"/>
                <a:cs typeface="Calibri" panose="020F0502020204030204" pitchFamily="34" charset="0"/>
              </a:rPr>
              <a:pPr algn="l"/>
              <a:t>‹Nr.›</a:t>
            </a:fld>
            <a:endParaRPr lang="de-DE" sz="1133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611159" y="2430204"/>
            <a:ext cx="14270066" cy="5130537"/>
          </a:xfrm>
          <a:prstGeom prst="rect">
            <a:avLst/>
          </a:prstGeom>
        </p:spPr>
        <p:txBody>
          <a:bodyPr/>
          <a:lstStyle>
            <a:lvl1pPr>
              <a:spcBef>
                <a:spcPts val="756"/>
              </a:spcBef>
              <a:defRPr sz="3023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756"/>
              </a:spcBef>
              <a:defRPr sz="2519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spcBef>
                <a:spcPts val="756"/>
              </a:spcBef>
              <a:defRPr sz="2267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spcBef>
                <a:spcPts val="756"/>
              </a:spcBef>
              <a:defRPr sz="1763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495123" indent="-287899">
              <a:spcBef>
                <a:spcPts val="756"/>
              </a:spcBef>
              <a:buFont typeface="Arial" panose="020B0604020202020204" pitchFamily="34" charset="0"/>
              <a:buChar char="•"/>
              <a:defRPr sz="1511" baseline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sz="1511" dirty="0"/>
              <a:t>Fünfte Ebene</a:t>
            </a:r>
            <a:endParaRPr lang="de-DE" dirty="0"/>
          </a:p>
        </p:txBody>
      </p:sp>
      <p:sp>
        <p:nvSpPr>
          <p:cNvPr id="13" name="Inhaltsplatzhalter 2"/>
          <p:cNvSpPr>
            <a:spLocks noGrp="1"/>
          </p:cNvSpPr>
          <p:nvPr>
            <p:ph idx="11"/>
          </p:nvPr>
        </p:nvSpPr>
        <p:spPr>
          <a:xfrm>
            <a:off x="611159" y="1423590"/>
            <a:ext cx="14240653" cy="810077"/>
          </a:xfrm>
          <a:prstGeom prst="rect">
            <a:avLst/>
          </a:prstGeom>
        </p:spPr>
        <p:txBody>
          <a:bodyPr/>
          <a:lstStyle>
            <a:lvl1pPr>
              <a:buNone/>
              <a:defRPr sz="2519">
                <a:solidFill>
                  <a:srgbClr val="F294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267">
                <a:latin typeface="Lucida Sans" pitchFamily="34" charset="0"/>
              </a:defRPr>
            </a:lvl2pPr>
            <a:lvl3pPr>
              <a:defRPr sz="2015">
                <a:latin typeface="Lucida Sans" pitchFamily="34" charset="0"/>
              </a:defRPr>
            </a:lvl3pPr>
            <a:lvl4pPr>
              <a:defRPr sz="1763">
                <a:latin typeface="Lucida Sans" pitchFamily="34" charset="0"/>
              </a:defRPr>
            </a:lvl4pPr>
            <a:lvl5pPr>
              <a:defRPr sz="1511">
                <a:latin typeface="Lucida Sans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2"/>
          </p:nvPr>
        </p:nvSpPr>
        <p:spPr>
          <a:xfrm>
            <a:off x="611159" y="697776"/>
            <a:ext cx="14240653" cy="810077"/>
          </a:xfrm>
          <a:prstGeom prst="rect">
            <a:avLst/>
          </a:prstGeom>
        </p:spPr>
        <p:txBody>
          <a:bodyPr/>
          <a:lstStyle>
            <a:lvl1pPr>
              <a:buNone/>
              <a:defRPr sz="4030">
                <a:solidFill>
                  <a:srgbClr val="C479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267">
                <a:latin typeface="Lucida Sans" pitchFamily="34" charset="0"/>
              </a:defRPr>
            </a:lvl2pPr>
            <a:lvl3pPr>
              <a:defRPr sz="2015">
                <a:latin typeface="Lucida Sans" pitchFamily="34" charset="0"/>
              </a:defRPr>
            </a:lvl3pPr>
            <a:lvl4pPr>
              <a:defRPr sz="1763">
                <a:latin typeface="Lucida Sans" pitchFamily="34" charset="0"/>
              </a:defRPr>
            </a:lvl4pPr>
            <a:lvl5pPr>
              <a:defRPr sz="1511">
                <a:latin typeface="Lucida Sans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pic>
        <p:nvPicPr>
          <p:cNvPr id="10" name="Bild 1" descr="HSM_Logo_W_orange_lang.eps">
            <a:extLst>
              <a:ext uri="{FF2B5EF4-FFF2-40B4-BE49-F238E27FC236}">
                <a16:creationId xmlns:a16="http://schemas.microsoft.com/office/drawing/2014/main" id="{D3B92264-F32C-4DC0-8C7C-8003113AE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06" y="8164730"/>
            <a:ext cx="4680709" cy="200600"/>
          </a:xfrm>
          <a:prstGeom prst="rect">
            <a:avLst/>
          </a:prstGeom>
        </p:spPr>
      </p:pic>
      <p:sp>
        <p:nvSpPr>
          <p:cNvPr id="8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606209" y="7685269"/>
            <a:ext cx="14240653" cy="434447"/>
          </a:xfrm>
          <a:prstGeom prst="rect">
            <a:avLst/>
          </a:prstGeo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105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79043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9374">
          <p15:clr>
            <a:srgbClr val="FBAE40"/>
          </p15:clr>
        </p15:guide>
        <p15:guide id="2" orient="horz" pos="140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 txBox="1">
            <a:spLocks noChangeArrowheads="1"/>
          </p:cNvSpPr>
          <p:nvPr userDrawn="1"/>
        </p:nvSpPr>
        <p:spPr bwMode="auto">
          <a:xfrm>
            <a:off x="9048477" y="8119717"/>
            <a:ext cx="5768690" cy="290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15157" tIns="57579" rIns="115157" bIns="57579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191919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de-DE" sz="1133" dirty="0" smtClean="0">
                <a:latin typeface="Calibri" panose="020F0502020204030204" pitchFamily="34" charset="0"/>
                <a:cs typeface="Calibri" panose="020F0502020204030204" pitchFamily="34" charset="0"/>
              </a:rPr>
              <a:t>MSP | Team</a:t>
            </a:r>
            <a:r>
              <a:rPr lang="de-DE" sz="1133" baseline="0" dirty="0" smtClean="0">
                <a:latin typeface="Calibri" panose="020F0502020204030204" pitchFamily="34" charset="0"/>
                <a:cs typeface="Calibri" panose="020F0502020204030204" pitchFamily="34" charset="0"/>
              </a:rPr>
              <a:t> XX | </a:t>
            </a:r>
            <a:r>
              <a:rPr lang="de-DE" sz="1133" baseline="0" dirty="0" smtClean="0">
                <a:latin typeface="Calibri" panose="020F0502020204030204" pitchFamily="34" charset="0"/>
                <a:cs typeface="Calibri" panose="020F0502020204030204" pitchFamily="34" charset="0"/>
              </a:rPr>
              <a:t>Vorname3 Nachname3</a:t>
            </a:r>
            <a:endParaRPr lang="de-DE" sz="1133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 4"/>
          <p:cNvSpPr txBox="1">
            <a:spLocks noChangeArrowheads="1"/>
          </p:cNvSpPr>
          <p:nvPr userDrawn="1"/>
        </p:nvSpPr>
        <p:spPr bwMode="auto">
          <a:xfrm>
            <a:off x="7261381" y="8119717"/>
            <a:ext cx="923209" cy="290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15157" tIns="57579" rIns="115157" bIns="57579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191919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4400" kern="12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de-DE" sz="1133" dirty="0">
                <a:latin typeface="Calibri" panose="020F0502020204030204" pitchFamily="34" charset="0"/>
                <a:cs typeface="Calibri" panose="020F0502020204030204" pitchFamily="34" charset="0"/>
              </a:rPr>
              <a:t>Folie </a:t>
            </a:r>
            <a:fld id="{B429B77F-508F-498B-88B5-94F248EC2D29}" type="slidenum">
              <a:rPr lang="de-DE" sz="1133" smtClean="0">
                <a:latin typeface="Calibri" panose="020F0502020204030204" pitchFamily="34" charset="0"/>
                <a:cs typeface="Calibri" panose="020F0502020204030204" pitchFamily="34" charset="0"/>
              </a:rPr>
              <a:pPr algn="l"/>
              <a:t>‹Nr.›</a:t>
            </a:fld>
            <a:endParaRPr lang="de-DE" sz="1133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611159" y="2430204"/>
            <a:ext cx="14270066" cy="5130537"/>
          </a:xfrm>
          <a:prstGeom prst="rect">
            <a:avLst/>
          </a:prstGeom>
        </p:spPr>
        <p:txBody>
          <a:bodyPr/>
          <a:lstStyle>
            <a:lvl1pPr>
              <a:spcBef>
                <a:spcPts val="756"/>
              </a:spcBef>
              <a:defRPr sz="3023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756"/>
              </a:spcBef>
              <a:defRPr sz="2519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spcBef>
                <a:spcPts val="756"/>
              </a:spcBef>
              <a:defRPr sz="2267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spcBef>
                <a:spcPts val="756"/>
              </a:spcBef>
              <a:defRPr sz="1763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495123" indent="-287899">
              <a:spcBef>
                <a:spcPts val="756"/>
              </a:spcBef>
              <a:buFont typeface="Arial" panose="020B0604020202020204" pitchFamily="34" charset="0"/>
              <a:buChar char="•"/>
              <a:defRPr sz="1511" baseline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sz="1511" dirty="0"/>
              <a:t>Fünfte Ebene</a:t>
            </a:r>
            <a:endParaRPr lang="de-DE" dirty="0"/>
          </a:p>
        </p:txBody>
      </p:sp>
      <p:sp>
        <p:nvSpPr>
          <p:cNvPr id="13" name="Inhaltsplatzhalter 2"/>
          <p:cNvSpPr>
            <a:spLocks noGrp="1"/>
          </p:cNvSpPr>
          <p:nvPr>
            <p:ph idx="11"/>
          </p:nvPr>
        </p:nvSpPr>
        <p:spPr>
          <a:xfrm>
            <a:off x="611159" y="1423590"/>
            <a:ext cx="14240653" cy="810077"/>
          </a:xfrm>
          <a:prstGeom prst="rect">
            <a:avLst/>
          </a:prstGeom>
        </p:spPr>
        <p:txBody>
          <a:bodyPr/>
          <a:lstStyle>
            <a:lvl1pPr>
              <a:buNone/>
              <a:defRPr sz="2519">
                <a:solidFill>
                  <a:srgbClr val="F294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267">
                <a:latin typeface="Lucida Sans" pitchFamily="34" charset="0"/>
              </a:defRPr>
            </a:lvl2pPr>
            <a:lvl3pPr>
              <a:defRPr sz="2015">
                <a:latin typeface="Lucida Sans" pitchFamily="34" charset="0"/>
              </a:defRPr>
            </a:lvl3pPr>
            <a:lvl4pPr>
              <a:defRPr sz="1763">
                <a:latin typeface="Lucida Sans" pitchFamily="34" charset="0"/>
              </a:defRPr>
            </a:lvl4pPr>
            <a:lvl5pPr>
              <a:defRPr sz="1511">
                <a:latin typeface="Lucida Sans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2"/>
          </p:nvPr>
        </p:nvSpPr>
        <p:spPr>
          <a:xfrm>
            <a:off x="611159" y="697776"/>
            <a:ext cx="14240653" cy="810077"/>
          </a:xfrm>
          <a:prstGeom prst="rect">
            <a:avLst/>
          </a:prstGeom>
        </p:spPr>
        <p:txBody>
          <a:bodyPr/>
          <a:lstStyle>
            <a:lvl1pPr>
              <a:buNone/>
              <a:defRPr sz="4030">
                <a:solidFill>
                  <a:srgbClr val="C479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267">
                <a:latin typeface="Lucida Sans" pitchFamily="34" charset="0"/>
              </a:defRPr>
            </a:lvl2pPr>
            <a:lvl3pPr>
              <a:defRPr sz="2015">
                <a:latin typeface="Lucida Sans" pitchFamily="34" charset="0"/>
              </a:defRPr>
            </a:lvl3pPr>
            <a:lvl4pPr>
              <a:defRPr sz="1763">
                <a:latin typeface="Lucida Sans" pitchFamily="34" charset="0"/>
              </a:defRPr>
            </a:lvl4pPr>
            <a:lvl5pPr>
              <a:defRPr sz="1511">
                <a:latin typeface="Lucida Sans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pic>
        <p:nvPicPr>
          <p:cNvPr id="10" name="Bild 1" descr="HSM_Logo_W_orange_lang.eps">
            <a:extLst>
              <a:ext uri="{FF2B5EF4-FFF2-40B4-BE49-F238E27FC236}">
                <a16:creationId xmlns:a16="http://schemas.microsoft.com/office/drawing/2014/main" id="{D3B92264-F32C-4DC0-8C7C-8003113AE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06" y="8164730"/>
            <a:ext cx="4680709" cy="200600"/>
          </a:xfrm>
          <a:prstGeom prst="rect">
            <a:avLst/>
          </a:prstGeom>
        </p:spPr>
      </p:pic>
      <p:sp>
        <p:nvSpPr>
          <p:cNvPr id="8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606209" y="7685269"/>
            <a:ext cx="14240653" cy="434447"/>
          </a:xfrm>
          <a:prstGeom prst="rect">
            <a:avLst/>
          </a:prstGeo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105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03944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9374">
          <p15:clr>
            <a:srgbClr val="FBAE40"/>
          </p15:clr>
        </p15:guide>
        <p15:guide id="2" orient="horz" pos="140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9" r:id="rId2"/>
    <p:sldLayoutId id="2147483681" r:id="rId3"/>
    <p:sldLayoutId id="2147483682" r:id="rId4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500">
          <a:solidFill>
            <a:srgbClr val="1967B8"/>
          </a:solidFill>
          <a:latin typeface="Calibri"/>
          <a:ea typeface="+mj-ea"/>
          <a:cs typeface="Calibri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500">
          <a:solidFill>
            <a:srgbClr val="1967B8"/>
          </a:solidFill>
          <a:latin typeface="Georgia" charset="0"/>
          <a:ea typeface="ＭＳ Ｐゴシック" charset="0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500">
          <a:solidFill>
            <a:srgbClr val="1967B8"/>
          </a:solidFill>
          <a:latin typeface="Georgia" charset="0"/>
          <a:ea typeface="ＭＳ Ｐゴシック" charset="0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500">
          <a:solidFill>
            <a:srgbClr val="1967B8"/>
          </a:solidFill>
          <a:latin typeface="Georgia" charset="0"/>
          <a:ea typeface="ＭＳ Ｐゴシック" charset="0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500">
          <a:solidFill>
            <a:srgbClr val="1967B8"/>
          </a:solidFill>
          <a:latin typeface="Georgia" charset="0"/>
          <a:ea typeface="ＭＳ Ｐゴシック" charset="0"/>
          <a:cs typeface="ＭＳ Ｐゴシック" charset="0"/>
        </a:defRPr>
      </a:lvl5pPr>
      <a:lvl6pPr marL="576072" algn="l" rtl="0" eaLnBrk="1" fontAlgn="base" hangingPunct="1">
        <a:spcBef>
          <a:spcPct val="0"/>
        </a:spcBef>
        <a:spcAft>
          <a:spcPct val="0"/>
        </a:spcAft>
        <a:defRPr sz="4500">
          <a:solidFill>
            <a:srgbClr val="1967B8"/>
          </a:solidFill>
          <a:latin typeface="Georgia" charset="0"/>
          <a:ea typeface="ＭＳ Ｐゴシック" charset="0"/>
          <a:cs typeface="ＭＳ Ｐゴシック" charset="0"/>
        </a:defRPr>
      </a:lvl6pPr>
      <a:lvl7pPr marL="1152144" algn="l" rtl="0" eaLnBrk="1" fontAlgn="base" hangingPunct="1">
        <a:spcBef>
          <a:spcPct val="0"/>
        </a:spcBef>
        <a:spcAft>
          <a:spcPct val="0"/>
        </a:spcAft>
        <a:defRPr sz="4500">
          <a:solidFill>
            <a:srgbClr val="1967B8"/>
          </a:solidFill>
          <a:latin typeface="Georgia" charset="0"/>
          <a:ea typeface="ＭＳ Ｐゴシック" charset="0"/>
          <a:cs typeface="ＭＳ Ｐゴシック" charset="0"/>
        </a:defRPr>
      </a:lvl7pPr>
      <a:lvl8pPr marL="1728216" algn="l" rtl="0" eaLnBrk="1" fontAlgn="base" hangingPunct="1">
        <a:spcBef>
          <a:spcPct val="0"/>
        </a:spcBef>
        <a:spcAft>
          <a:spcPct val="0"/>
        </a:spcAft>
        <a:defRPr sz="4500">
          <a:solidFill>
            <a:srgbClr val="1967B8"/>
          </a:solidFill>
          <a:latin typeface="Georgia" charset="0"/>
          <a:ea typeface="ＭＳ Ｐゴシック" charset="0"/>
          <a:cs typeface="ＭＳ Ｐゴシック" charset="0"/>
        </a:defRPr>
      </a:lvl8pPr>
      <a:lvl9pPr marL="2304288" algn="l" rtl="0" eaLnBrk="1" fontAlgn="base" hangingPunct="1">
        <a:spcBef>
          <a:spcPct val="0"/>
        </a:spcBef>
        <a:spcAft>
          <a:spcPct val="0"/>
        </a:spcAft>
        <a:defRPr sz="4500">
          <a:solidFill>
            <a:srgbClr val="1967B8"/>
          </a:solidFill>
          <a:latin typeface="Georgia" charset="0"/>
          <a:ea typeface="ＭＳ Ｐゴシック" charset="0"/>
          <a:cs typeface="ＭＳ Ｐゴシック" charset="0"/>
        </a:defRPr>
      </a:lvl9pPr>
    </p:titleStyle>
    <p:bodyStyle>
      <a:lvl1pPr marL="432054" indent="-432054" algn="l" rtl="0" eaLnBrk="1" fontAlgn="base" hangingPunct="1">
        <a:spcBef>
          <a:spcPct val="20000"/>
        </a:spcBef>
        <a:spcAft>
          <a:spcPct val="0"/>
        </a:spcAft>
        <a:buChar char="•"/>
        <a:defRPr sz="4000">
          <a:solidFill>
            <a:schemeClr val="tx1"/>
          </a:solidFill>
          <a:latin typeface="+mn-lt"/>
          <a:ea typeface="+mn-ea"/>
          <a:cs typeface="+mn-cs"/>
        </a:defRPr>
      </a:lvl1pPr>
      <a:lvl2pPr marL="936117" indent="-360045" algn="l" rtl="0" eaLnBrk="1" fontAlgn="base" hangingPunct="1">
        <a:spcBef>
          <a:spcPct val="20000"/>
        </a:spcBef>
        <a:spcAft>
          <a:spcPct val="0"/>
        </a:spcAft>
        <a:buChar char="–"/>
        <a:defRPr sz="3500">
          <a:solidFill>
            <a:schemeClr val="tx1"/>
          </a:solidFill>
          <a:latin typeface="+mn-lt"/>
          <a:ea typeface="+mn-ea"/>
        </a:defRPr>
      </a:lvl2pPr>
      <a:lvl3pPr marL="1440180" indent="-288036" algn="l" rtl="0" eaLnBrk="1" fontAlgn="base" hangingPunct="1">
        <a:spcBef>
          <a:spcPct val="20000"/>
        </a:spcBef>
        <a:spcAft>
          <a:spcPct val="0"/>
        </a:spcAft>
        <a:buChar char="•"/>
        <a:defRPr sz="3000">
          <a:solidFill>
            <a:schemeClr val="tx1"/>
          </a:solidFill>
          <a:latin typeface="+mn-lt"/>
          <a:ea typeface="+mn-ea"/>
        </a:defRPr>
      </a:lvl3pPr>
      <a:lvl4pPr marL="1968246" indent="-288036" algn="l" rtl="0" eaLnBrk="1" fontAlgn="base" hangingPunct="1">
        <a:spcBef>
          <a:spcPct val="20000"/>
        </a:spcBef>
        <a:spcAft>
          <a:spcPct val="0"/>
        </a:spcAft>
        <a:buChar char="–"/>
        <a:defRPr sz="2500">
          <a:solidFill>
            <a:schemeClr val="tx1"/>
          </a:solidFill>
          <a:latin typeface="+mn-lt"/>
          <a:ea typeface="+mn-ea"/>
        </a:defRPr>
      </a:lvl4pPr>
      <a:lvl5pPr marL="2496312" indent="-288036" algn="l" rtl="0" eaLnBrk="1" fontAlgn="base" hangingPunct="1">
        <a:spcBef>
          <a:spcPct val="20000"/>
        </a:spcBef>
        <a:spcAft>
          <a:spcPct val="0"/>
        </a:spcAft>
        <a:buChar char="»"/>
        <a:defRPr sz="2500">
          <a:solidFill>
            <a:schemeClr val="tx1"/>
          </a:solidFill>
          <a:latin typeface="+mn-lt"/>
          <a:ea typeface="+mn-ea"/>
        </a:defRPr>
      </a:lvl5pPr>
      <a:lvl6pPr marL="3072384" indent="-288036" algn="l" rtl="0" eaLnBrk="1" fontAlgn="base" hangingPunct="1">
        <a:spcBef>
          <a:spcPct val="20000"/>
        </a:spcBef>
        <a:spcAft>
          <a:spcPct val="0"/>
        </a:spcAft>
        <a:buChar char="»"/>
        <a:defRPr sz="2500">
          <a:solidFill>
            <a:schemeClr val="tx1"/>
          </a:solidFill>
          <a:latin typeface="+mn-lt"/>
          <a:ea typeface="+mn-ea"/>
        </a:defRPr>
      </a:lvl6pPr>
      <a:lvl7pPr marL="3648456" indent="-288036" algn="l" rtl="0" eaLnBrk="1" fontAlgn="base" hangingPunct="1">
        <a:spcBef>
          <a:spcPct val="20000"/>
        </a:spcBef>
        <a:spcAft>
          <a:spcPct val="0"/>
        </a:spcAft>
        <a:buChar char="»"/>
        <a:defRPr sz="2500">
          <a:solidFill>
            <a:schemeClr val="tx1"/>
          </a:solidFill>
          <a:latin typeface="+mn-lt"/>
          <a:ea typeface="+mn-ea"/>
        </a:defRPr>
      </a:lvl7pPr>
      <a:lvl8pPr marL="4224528" indent="-288036" algn="l" rtl="0" eaLnBrk="1" fontAlgn="base" hangingPunct="1">
        <a:spcBef>
          <a:spcPct val="20000"/>
        </a:spcBef>
        <a:spcAft>
          <a:spcPct val="0"/>
        </a:spcAft>
        <a:buChar char="»"/>
        <a:defRPr sz="2500">
          <a:solidFill>
            <a:schemeClr val="tx1"/>
          </a:solidFill>
          <a:latin typeface="+mn-lt"/>
          <a:ea typeface="+mn-ea"/>
        </a:defRPr>
      </a:lvl8pPr>
      <a:lvl9pPr marL="4800600" indent="-288036" algn="l" rtl="0" eaLnBrk="1" fontAlgn="base" hangingPunct="1">
        <a:spcBef>
          <a:spcPct val="20000"/>
        </a:spcBef>
        <a:spcAft>
          <a:spcPct val="0"/>
        </a:spcAft>
        <a:buChar char="»"/>
        <a:defRPr sz="25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57607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57607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57607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57607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57607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57607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57607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57607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57607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2400" b="0" dirty="0" smtClean="0"/>
              <a:t>Methodik, Systematik &amp; Präsentation</a:t>
            </a:r>
          </a:p>
          <a:p>
            <a:r>
              <a:rPr lang="de-DE" sz="4400" dirty="0" smtClean="0"/>
              <a:t>Titel der Präsentation</a:t>
            </a:r>
          </a:p>
          <a:p>
            <a:endParaRPr lang="de-DE" sz="4400" dirty="0"/>
          </a:p>
          <a:p>
            <a:endParaRPr lang="de-DE" sz="3600" b="0" dirty="0" smtClean="0"/>
          </a:p>
          <a:p>
            <a:r>
              <a:rPr lang="de-DE" sz="3600" b="0" dirty="0" smtClean="0"/>
              <a:t>Team XX</a:t>
            </a:r>
          </a:p>
          <a:p>
            <a:r>
              <a:rPr lang="de-DE" sz="2400" b="0" dirty="0"/>
              <a:t>Nachname, Vorname (Matrikelnummer) </a:t>
            </a:r>
          </a:p>
          <a:p>
            <a:r>
              <a:rPr lang="de-DE" sz="2400" b="0" dirty="0"/>
              <a:t>Nachname, Vorname (Matrikelnummer) </a:t>
            </a:r>
          </a:p>
          <a:p>
            <a:r>
              <a:rPr lang="de-DE" sz="2400" b="0" dirty="0"/>
              <a:t>Nachname, Vorname (Matrikelnummer) </a:t>
            </a:r>
            <a:endParaRPr lang="de-DE" sz="2400" b="0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71121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67410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de-DE" dirty="0" smtClean="0"/>
              <a:t>Literaturverzeichnis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10446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de-DE" dirty="0" smtClean="0"/>
              <a:t>Bildnachweis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27604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</p:tagLst>
</file>

<file path=ppt/theme/theme1.xml><?xml version="1.0" encoding="utf-8"?>
<a:theme xmlns:a="http://schemas.openxmlformats.org/drawingml/2006/main" name="Blank Presentation">
  <a:themeElements>
    <a:clrScheme name="HS Mainz Wirtschaft 2">
      <a:dk1>
        <a:srgbClr val="000000"/>
      </a:dk1>
      <a:lt1>
        <a:srgbClr val="FFFFFF"/>
      </a:lt1>
      <a:dk2>
        <a:srgbClr val="797F82"/>
      </a:dk2>
      <a:lt2>
        <a:srgbClr val="9A9FA3"/>
      </a:lt2>
      <a:accent1>
        <a:srgbClr val="F49400"/>
      </a:accent1>
      <a:accent2>
        <a:srgbClr val="C47900"/>
      </a:accent2>
      <a:accent3>
        <a:srgbClr val="946006"/>
      </a:accent3>
      <a:accent4>
        <a:srgbClr val="EFAF53"/>
      </a:accent4>
      <a:accent5>
        <a:srgbClr val="F4C47E"/>
      </a:accent5>
      <a:accent6>
        <a:srgbClr val="F5EEDA"/>
      </a:accent6>
      <a:hlink>
        <a:srgbClr val="F49400"/>
      </a:hlink>
      <a:folHlink>
        <a:srgbClr val="C47900"/>
      </a:folHlink>
    </a:clrScheme>
    <a:fontScheme name="Blank Presentation">
      <a:majorFont>
        <a:latin typeface="Georgia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rgbClr val="000000">
                    <a:alpha val="74998"/>
                  </a:srgbClr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4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rgbClr val="000000">
                    <a:alpha val="74998"/>
                  </a:srgbClr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4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HS-Mainz_PPT_deutsch_2019-01-16_Vorlage_16x9_Test" id="{5329C679-F7EC-A944-84A7-915C36E702B4}" vid="{62A1D73A-CB41-514E-B1CD-5274293D9974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 Presentation</Template>
  <TotalTime>0</TotalTime>
  <Words>30</Words>
  <Application>Microsoft Office PowerPoint</Application>
  <PresentationFormat>Benutzerdefiniert</PresentationFormat>
  <Paragraphs>10</Paragraphs>
  <Slides>4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0" baseType="lpstr">
      <vt:lpstr>MS PGothic</vt:lpstr>
      <vt:lpstr>Arial</vt:lpstr>
      <vt:lpstr>Calibri</vt:lpstr>
      <vt:lpstr>Georgia</vt:lpstr>
      <vt:lpstr>Lucida Sans</vt:lpstr>
      <vt:lpstr>Blank Pre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 User</dc:creator>
  <cp:lastModifiedBy>Maria Strobel</cp:lastModifiedBy>
  <cp:revision>1306</cp:revision>
  <cp:lastPrinted>2019-01-22T08:08:30Z</cp:lastPrinted>
  <dcterms:created xsi:type="dcterms:W3CDTF">2019-01-16T10:45:12Z</dcterms:created>
  <dcterms:modified xsi:type="dcterms:W3CDTF">2022-07-25T09:16:02Z</dcterms:modified>
</cp:coreProperties>
</file>